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heme/theme2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heme/theme3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0"/>
  </p:notesMasterIdLst>
  <p:handoutMasterIdLst>
    <p:handoutMasterId r:id="rId11"/>
  </p:handoutMasterIdLst>
  <p:sldIdLst>
    <p:sldId id="259" r:id="rId6"/>
    <p:sldId id="260" r:id="rId7"/>
    <p:sldId id="261" r:id="rId8"/>
    <p:sldId id="262" r:id="rId9"/>
  </p:sldIdLst>
  <p:sldSz cx="12192000" cy="6858000"/>
  <p:notesSz cx="7099300" cy="10234613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96" autoAdjust="0"/>
  </p:normalViewPr>
  <p:slideViewPr>
    <p:cSldViewPr snapToObjects="1" showGuides="1">
      <p:cViewPr varScale="1">
        <p:scale>
          <a:sx n="72" d="100"/>
          <a:sy n="72" d="100"/>
        </p:scale>
        <p:origin x="608" y="3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23BC54-2F9C-4C7C-AD0F-22C4E6D0D941}" type="doc">
      <dgm:prSet loTypeId="urn:microsoft.com/office/officeart/2005/8/layout/matrix2" loCatId="matrix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FED6136-2C6B-4732-9FDD-58ED05720603}">
      <dgm:prSet phldrT="[Text]"/>
      <dgm:spPr>
        <a:solidFill>
          <a:srgbClr val="00B050"/>
        </a:solidFill>
      </dgm:spPr>
      <dgm:t>
        <a:bodyPr/>
        <a:lstStyle/>
        <a:p>
          <a:r>
            <a:rPr lang="en-IN" b="1" dirty="0" smtClean="0"/>
            <a:t>True Positive </a:t>
          </a:r>
        </a:p>
        <a:p>
          <a:endParaRPr lang="en-IN" dirty="0" smtClean="0"/>
        </a:p>
        <a:p>
          <a:endParaRPr lang="en-IN" dirty="0" smtClean="0"/>
        </a:p>
        <a:p>
          <a:r>
            <a:rPr lang="en-IN" dirty="0" smtClean="0"/>
            <a:t>Fully Paid </a:t>
          </a:r>
          <a:endParaRPr lang="en-US" dirty="0"/>
        </a:p>
      </dgm:t>
    </dgm:pt>
    <dgm:pt modelId="{0CA8A9B4-692F-46F5-B5F8-E442A590B1D8}" type="parTrans" cxnId="{889DEF1A-CDC5-4DEB-BC8B-520E7459BFC6}">
      <dgm:prSet/>
      <dgm:spPr/>
      <dgm:t>
        <a:bodyPr/>
        <a:lstStyle/>
        <a:p>
          <a:endParaRPr lang="en-US"/>
        </a:p>
      </dgm:t>
    </dgm:pt>
    <dgm:pt modelId="{8DFF91E3-D22F-444E-8938-49FE8A6D172A}" type="sibTrans" cxnId="{889DEF1A-CDC5-4DEB-BC8B-520E7459BFC6}">
      <dgm:prSet/>
      <dgm:spPr/>
      <dgm:t>
        <a:bodyPr/>
        <a:lstStyle/>
        <a:p>
          <a:endParaRPr lang="en-US"/>
        </a:p>
      </dgm:t>
    </dgm:pt>
    <dgm:pt modelId="{81FFF103-7656-4878-846E-4E4B916B8E0C}">
      <dgm:prSet phldrT="[Text]"/>
      <dgm:spPr>
        <a:solidFill>
          <a:srgbClr val="FF0000"/>
        </a:solidFill>
      </dgm:spPr>
      <dgm:t>
        <a:bodyPr/>
        <a:lstStyle/>
        <a:p>
          <a:r>
            <a:rPr lang="en-IN" b="1" dirty="0" smtClean="0"/>
            <a:t>False Positive </a:t>
          </a:r>
        </a:p>
        <a:p>
          <a:r>
            <a:rPr lang="en-IN" dirty="0" smtClean="0"/>
            <a:t>May </a:t>
          </a:r>
          <a:r>
            <a:rPr lang="en-IN" b="1" dirty="0" smtClean="0"/>
            <a:t>Default</a:t>
          </a:r>
          <a:r>
            <a:rPr lang="en-IN" dirty="0" smtClean="0"/>
            <a:t> but predicted as </a:t>
          </a:r>
          <a:r>
            <a:rPr lang="en-IN" b="1" dirty="0" smtClean="0"/>
            <a:t>Fully Paid</a:t>
          </a:r>
          <a:endParaRPr lang="en-US" b="1" dirty="0"/>
        </a:p>
      </dgm:t>
    </dgm:pt>
    <dgm:pt modelId="{1523A4FA-3E9D-4C02-903D-C58D4F780F05}" type="parTrans" cxnId="{018FF23A-159B-45A7-8E76-5BB3C8C8D3CD}">
      <dgm:prSet/>
      <dgm:spPr/>
      <dgm:t>
        <a:bodyPr/>
        <a:lstStyle/>
        <a:p>
          <a:endParaRPr lang="en-US"/>
        </a:p>
      </dgm:t>
    </dgm:pt>
    <dgm:pt modelId="{63BD2AFB-653D-4ECE-8E63-70E82309C073}" type="sibTrans" cxnId="{018FF23A-159B-45A7-8E76-5BB3C8C8D3CD}">
      <dgm:prSet/>
      <dgm:spPr/>
      <dgm:t>
        <a:bodyPr/>
        <a:lstStyle/>
        <a:p>
          <a:endParaRPr lang="en-US"/>
        </a:p>
      </dgm:t>
    </dgm:pt>
    <dgm:pt modelId="{230873AA-DDAD-488A-81FE-61BF37924430}">
      <dgm:prSet phldrT="[Text]"/>
      <dgm:spPr>
        <a:solidFill>
          <a:srgbClr val="FF0000"/>
        </a:solidFill>
      </dgm:spPr>
      <dgm:t>
        <a:bodyPr/>
        <a:lstStyle/>
        <a:p>
          <a:r>
            <a:rPr lang="en-IN" b="1" dirty="0" smtClean="0"/>
            <a:t>False Negative</a:t>
          </a:r>
        </a:p>
        <a:p>
          <a:endParaRPr lang="en-US" dirty="0" smtClean="0"/>
        </a:p>
        <a:p>
          <a:r>
            <a:rPr lang="en-IN" dirty="0" smtClean="0"/>
            <a:t>May </a:t>
          </a:r>
          <a:r>
            <a:rPr lang="en-IN" b="1" dirty="0" smtClean="0"/>
            <a:t>Pay in Full </a:t>
          </a:r>
          <a:r>
            <a:rPr lang="en-IN" dirty="0" smtClean="0"/>
            <a:t>but predicted as </a:t>
          </a:r>
          <a:r>
            <a:rPr lang="en-IN" b="1" dirty="0" smtClean="0"/>
            <a:t>Defaulters</a:t>
          </a:r>
          <a:endParaRPr lang="en-US" b="1" dirty="0"/>
        </a:p>
      </dgm:t>
    </dgm:pt>
    <dgm:pt modelId="{3F61D95F-32D5-4F79-9011-5AE80BBF6BC3}" type="parTrans" cxnId="{5725F6CF-3E36-46DB-8522-CE1E060ECFF4}">
      <dgm:prSet/>
      <dgm:spPr/>
      <dgm:t>
        <a:bodyPr/>
        <a:lstStyle/>
        <a:p>
          <a:endParaRPr lang="en-US"/>
        </a:p>
      </dgm:t>
    </dgm:pt>
    <dgm:pt modelId="{9CD400B9-355E-4C9F-8871-1043BD03A4FE}" type="sibTrans" cxnId="{5725F6CF-3E36-46DB-8522-CE1E060ECFF4}">
      <dgm:prSet/>
      <dgm:spPr/>
      <dgm:t>
        <a:bodyPr/>
        <a:lstStyle/>
        <a:p>
          <a:endParaRPr lang="en-US"/>
        </a:p>
      </dgm:t>
    </dgm:pt>
    <dgm:pt modelId="{3F808E06-359F-4457-A291-9795A15BFB89}">
      <dgm:prSet phldrT="[Text]"/>
      <dgm:spPr>
        <a:solidFill>
          <a:srgbClr val="00B050"/>
        </a:solidFill>
      </dgm:spPr>
      <dgm:t>
        <a:bodyPr/>
        <a:lstStyle/>
        <a:p>
          <a:r>
            <a:rPr lang="en-IN" b="1" dirty="0" smtClean="0"/>
            <a:t>True Negative</a:t>
          </a:r>
        </a:p>
        <a:p>
          <a:endParaRPr lang="en-IN" dirty="0" smtClean="0"/>
        </a:p>
        <a:p>
          <a:r>
            <a:rPr lang="en-IN" dirty="0" smtClean="0"/>
            <a:t>Defaulters</a:t>
          </a:r>
          <a:endParaRPr lang="en-US" dirty="0"/>
        </a:p>
      </dgm:t>
    </dgm:pt>
    <dgm:pt modelId="{D5E3366A-7230-46C8-9E94-1923A2B939A1}" type="parTrans" cxnId="{E9E38A08-3D3A-4982-BA94-691BDC29A1E1}">
      <dgm:prSet/>
      <dgm:spPr/>
      <dgm:t>
        <a:bodyPr/>
        <a:lstStyle/>
        <a:p>
          <a:endParaRPr lang="en-US"/>
        </a:p>
      </dgm:t>
    </dgm:pt>
    <dgm:pt modelId="{10FD501D-AD1A-4695-8903-B9AC5504ACDA}" type="sibTrans" cxnId="{E9E38A08-3D3A-4982-BA94-691BDC29A1E1}">
      <dgm:prSet/>
      <dgm:spPr/>
      <dgm:t>
        <a:bodyPr/>
        <a:lstStyle/>
        <a:p>
          <a:endParaRPr lang="en-US"/>
        </a:p>
      </dgm:t>
    </dgm:pt>
    <dgm:pt modelId="{57EC3A56-9F8C-41F2-8950-1FC369CA4F57}" type="pres">
      <dgm:prSet presAssocID="{DF23BC54-2F9C-4C7C-AD0F-22C4E6D0D941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C97A22F-92ED-4724-A3EB-C5372502DAC8}" type="pres">
      <dgm:prSet presAssocID="{DF23BC54-2F9C-4C7C-AD0F-22C4E6D0D941}" presName="axisShape" presStyleLbl="bgShp" presStyleIdx="0" presStyleCnt="1"/>
      <dgm:spPr>
        <a:solidFill>
          <a:schemeClr val="tx1"/>
        </a:solidFill>
      </dgm:spPr>
    </dgm:pt>
    <dgm:pt modelId="{AC48DEAA-1FE2-4AD3-AD9C-C7D0E552812E}" type="pres">
      <dgm:prSet presAssocID="{DF23BC54-2F9C-4C7C-AD0F-22C4E6D0D941}" presName="rect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BFF49B-8F6A-43CA-93D9-CD179E1B428B}" type="pres">
      <dgm:prSet presAssocID="{DF23BC54-2F9C-4C7C-AD0F-22C4E6D0D941}" presName="rect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2A4282-4B0C-486C-951E-52BAB4D5B476}" type="pres">
      <dgm:prSet presAssocID="{DF23BC54-2F9C-4C7C-AD0F-22C4E6D0D941}" presName="rect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61EFDD-D0FC-4B7E-BEAD-1CBDF2890CAB}" type="pres">
      <dgm:prSet presAssocID="{DF23BC54-2F9C-4C7C-AD0F-22C4E6D0D941}" presName="rect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9DA14CD-EFD9-4FEE-A7AC-D7B684E07CA9}" type="presOf" srcId="{3F808E06-359F-4457-A291-9795A15BFB89}" destId="{F761EFDD-D0FC-4B7E-BEAD-1CBDF2890CAB}" srcOrd="0" destOrd="0" presId="urn:microsoft.com/office/officeart/2005/8/layout/matrix2"/>
    <dgm:cxn modelId="{018FF23A-159B-45A7-8E76-5BB3C8C8D3CD}" srcId="{DF23BC54-2F9C-4C7C-AD0F-22C4E6D0D941}" destId="{81FFF103-7656-4878-846E-4E4B916B8E0C}" srcOrd="1" destOrd="0" parTransId="{1523A4FA-3E9D-4C02-903D-C58D4F780F05}" sibTransId="{63BD2AFB-653D-4ECE-8E63-70E82309C073}"/>
    <dgm:cxn modelId="{1A8026E3-B922-466B-AA7E-942A130A169D}" type="presOf" srcId="{230873AA-DDAD-488A-81FE-61BF37924430}" destId="{4B2A4282-4B0C-486C-951E-52BAB4D5B476}" srcOrd="0" destOrd="0" presId="urn:microsoft.com/office/officeart/2005/8/layout/matrix2"/>
    <dgm:cxn modelId="{E779487F-29AD-4037-B149-8447B6AB50A1}" type="presOf" srcId="{81FFF103-7656-4878-846E-4E4B916B8E0C}" destId="{50BFF49B-8F6A-43CA-93D9-CD179E1B428B}" srcOrd="0" destOrd="0" presId="urn:microsoft.com/office/officeart/2005/8/layout/matrix2"/>
    <dgm:cxn modelId="{5725F6CF-3E36-46DB-8522-CE1E060ECFF4}" srcId="{DF23BC54-2F9C-4C7C-AD0F-22C4E6D0D941}" destId="{230873AA-DDAD-488A-81FE-61BF37924430}" srcOrd="2" destOrd="0" parTransId="{3F61D95F-32D5-4F79-9011-5AE80BBF6BC3}" sibTransId="{9CD400B9-355E-4C9F-8871-1043BD03A4FE}"/>
    <dgm:cxn modelId="{54AAF0FA-6228-4E88-BF96-FE061E05A575}" type="presOf" srcId="{2FED6136-2C6B-4732-9FDD-58ED05720603}" destId="{AC48DEAA-1FE2-4AD3-AD9C-C7D0E552812E}" srcOrd="0" destOrd="0" presId="urn:microsoft.com/office/officeart/2005/8/layout/matrix2"/>
    <dgm:cxn modelId="{889DEF1A-CDC5-4DEB-BC8B-520E7459BFC6}" srcId="{DF23BC54-2F9C-4C7C-AD0F-22C4E6D0D941}" destId="{2FED6136-2C6B-4732-9FDD-58ED05720603}" srcOrd="0" destOrd="0" parTransId="{0CA8A9B4-692F-46F5-B5F8-E442A590B1D8}" sibTransId="{8DFF91E3-D22F-444E-8938-49FE8A6D172A}"/>
    <dgm:cxn modelId="{E9E38A08-3D3A-4982-BA94-691BDC29A1E1}" srcId="{DF23BC54-2F9C-4C7C-AD0F-22C4E6D0D941}" destId="{3F808E06-359F-4457-A291-9795A15BFB89}" srcOrd="3" destOrd="0" parTransId="{D5E3366A-7230-46C8-9E94-1923A2B939A1}" sibTransId="{10FD501D-AD1A-4695-8903-B9AC5504ACDA}"/>
    <dgm:cxn modelId="{252ED1FF-3856-4B56-B94E-BB03E2161B62}" type="presOf" srcId="{DF23BC54-2F9C-4C7C-AD0F-22C4E6D0D941}" destId="{57EC3A56-9F8C-41F2-8950-1FC369CA4F57}" srcOrd="0" destOrd="0" presId="urn:microsoft.com/office/officeart/2005/8/layout/matrix2"/>
    <dgm:cxn modelId="{BF8EF1B8-6E15-4D9C-BDCF-6ADDBDC87ACF}" type="presParOf" srcId="{57EC3A56-9F8C-41F2-8950-1FC369CA4F57}" destId="{2C97A22F-92ED-4724-A3EB-C5372502DAC8}" srcOrd="0" destOrd="0" presId="urn:microsoft.com/office/officeart/2005/8/layout/matrix2"/>
    <dgm:cxn modelId="{84819B7B-CAA0-4C2A-9D83-D18BA89C89FC}" type="presParOf" srcId="{57EC3A56-9F8C-41F2-8950-1FC369CA4F57}" destId="{AC48DEAA-1FE2-4AD3-AD9C-C7D0E552812E}" srcOrd="1" destOrd="0" presId="urn:microsoft.com/office/officeart/2005/8/layout/matrix2"/>
    <dgm:cxn modelId="{2CC71CE1-E080-4A94-944C-32321EC7FB6A}" type="presParOf" srcId="{57EC3A56-9F8C-41F2-8950-1FC369CA4F57}" destId="{50BFF49B-8F6A-43CA-93D9-CD179E1B428B}" srcOrd="2" destOrd="0" presId="urn:microsoft.com/office/officeart/2005/8/layout/matrix2"/>
    <dgm:cxn modelId="{5F2F1594-16D0-42BB-94E5-555223AB0FD8}" type="presParOf" srcId="{57EC3A56-9F8C-41F2-8950-1FC369CA4F57}" destId="{4B2A4282-4B0C-486C-951E-52BAB4D5B476}" srcOrd="3" destOrd="0" presId="urn:microsoft.com/office/officeart/2005/8/layout/matrix2"/>
    <dgm:cxn modelId="{587F235C-A484-4511-95AF-7223E4FA2BD2}" type="presParOf" srcId="{57EC3A56-9F8C-41F2-8950-1FC369CA4F57}" destId="{F761EFDD-D0FC-4B7E-BEAD-1CBDF2890CAB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30B53A8-8E10-4F91-A90E-0810A92AC1E7}" type="doc">
      <dgm:prSet loTypeId="urn:microsoft.com/office/officeart/2005/8/layout/hProcess6" loCatId="process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B5057399-2B00-4E3D-B4E8-37FCD1A01D6F}">
      <dgm:prSet phldrT="[Text]" custT="1"/>
      <dgm:spPr/>
      <dgm:t>
        <a:bodyPr/>
        <a:lstStyle/>
        <a:p>
          <a:r>
            <a:rPr lang="en-US" sz="1000" b="0" dirty="0" smtClean="0">
              <a:solidFill>
                <a:schemeClr val="tx1"/>
              </a:solidFill>
            </a:rPr>
            <a:t>F-Measure</a:t>
          </a:r>
          <a:endParaRPr lang="en-US" sz="1000" b="0" dirty="0">
            <a:solidFill>
              <a:schemeClr val="tx1"/>
            </a:solidFill>
          </a:endParaRPr>
        </a:p>
      </dgm:t>
    </dgm:pt>
    <dgm:pt modelId="{F3003E18-15E1-4F5D-B9B3-993FC10EEC87}" type="parTrans" cxnId="{0D92B61D-259E-4F39-A0D8-C4A0D343B539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E78778C9-67AB-44F2-816A-9A6E0405F2DA}" type="sibTrans" cxnId="{0D92B61D-259E-4F39-A0D8-C4A0D343B539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3478496C-A312-466A-9979-E08C105C6313}">
      <dgm:prSet phldrT="[Text]" custT="1"/>
      <dgm:spPr/>
      <dgm:t>
        <a:bodyPr/>
        <a:lstStyle/>
        <a:p>
          <a:r>
            <a:rPr lang="en-US" sz="1000" b="0" dirty="0" smtClean="0">
              <a:solidFill>
                <a:schemeClr val="tx1"/>
              </a:solidFill>
            </a:rPr>
            <a:t>Score 0.985</a:t>
          </a:r>
          <a:endParaRPr lang="en-US" sz="1000" b="0" dirty="0">
            <a:solidFill>
              <a:schemeClr val="tx1"/>
            </a:solidFill>
          </a:endParaRPr>
        </a:p>
      </dgm:t>
    </dgm:pt>
    <dgm:pt modelId="{8F328876-1798-4CF3-8366-3EFFD0215DE9}" type="parTrans" cxnId="{FC3043D1-68E2-4F2B-960D-5F22E0572157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F8B91907-7062-428B-B7A9-226BA87A49A1}" type="sibTrans" cxnId="{FC3043D1-68E2-4F2B-960D-5F22E0572157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0203323F-27A8-4E5E-A909-2E8295BDBED8}">
      <dgm:prSet phldrT="[Text]" custT="1"/>
      <dgm:spPr/>
      <dgm:t>
        <a:bodyPr/>
        <a:lstStyle/>
        <a:p>
          <a:r>
            <a:rPr lang="en-US" sz="1000" b="0" dirty="0" smtClean="0">
              <a:solidFill>
                <a:schemeClr val="tx1"/>
              </a:solidFill>
            </a:rPr>
            <a:t>AUC</a:t>
          </a:r>
          <a:endParaRPr lang="en-US" sz="1000" b="0" dirty="0">
            <a:solidFill>
              <a:schemeClr val="tx1"/>
            </a:solidFill>
          </a:endParaRPr>
        </a:p>
      </dgm:t>
    </dgm:pt>
    <dgm:pt modelId="{A4ECE9D5-72E7-4405-9DD4-4BD339C0A5FB}" type="parTrans" cxnId="{2650B014-876D-48C8-AB8B-25360D192141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087D90F1-B83C-4114-95CC-32F5C0E6EF0E}" type="sibTrans" cxnId="{2650B014-876D-48C8-AB8B-25360D192141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0E25D8DE-BB0E-4BC3-8F2B-31CA0D99D10A}">
      <dgm:prSet phldrT="[Text]" custT="1"/>
      <dgm:spPr/>
      <dgm:t>
        <a:bodyPr/>
        <a:lstStyle/>
        <a:p>
          <a:r>
            <a:rPr lang="en-US" sz="1000" b="0" dirty="0" smtClean="0">
              <a:solidFill>
                <a:schemeClr val="tx1"/>
              </a:solidFill>
            </a:rPr>
            <a:t>Sensitivity</a:t>
          </a:r>
          <a:endParaRPr lang="en-US" sz="1000" b="0" dirty="0">
            <a:solidFill>
              <a:schemeClr val="tx1"/>
            </a:solidFill>
          </a:endParaRPr>
        </a:p>
      </dgm:t>
    </dgm:pt>
    <dgm:pt modelId="{A0862819-FDC2-4D9E-AE58-E7A67AB5387E}" type="parTrans" cxnId="{360AFFC1-6FBF-44EE-8A10-5238A9BF7CD9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842779C3-368E-4142-A0A8-D2D60A1A14FA}" type="sibTrans" cxnId="{360AFFC1-6FBF-44EE-8A10-5238A9BF7CD9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83F17B94-CF11-424E-9AAB-FBC285F1AD8F}">
      <dgm:prSet phldrT="[Text]" custT="1"/>
      <dgm:spPr/>
      <dgm:t>
        <a:bodyPr/>
        <a:lstStyle/>
        <a:p>
          <a:r>
            <a:rPr lang="en-US" sz="1000" b="0" dirty="0" smtClean="0">
              <a:solidFill>
                <a:schemeClr val="tx1"/>
              </a:solidFill>
            </a:rPr>
            <a:t>Score 0.723</a:t>
          </a:r>
          <a:endParaRPr lang="en-US" sz="1000" b="0" dirty="0">
            <a:solidFill>
              <a:schemeClr val="tx1"/>
            </a:solidFill>
          </a:endParaRPr>
        </a:p>
      </dgm:t>
    </dgm:pt>
    <dgm:pt modelId="{90050B57-9392-463B-A789-5E5545DD4542}" type="parTrans" cxnId="{C6DA57A6-398B-4579-AFB2-2DFBCF8EED11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92AC0FE9-9FFE-4A43-A1C4-C8C51A272DA4}" type="sibTrans" cxnId="{C6DA57A6-398B-4579-AFB2-2DFBCF8EED11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76F8C8B8-BD4E-4776-9962-CAA934A9D654}">
      <dgm:prSet phldrT="[Text]" custT="1"/>
      <dgm:spPr/>
      <dgm:t>
        <a:bodyPr/>
        <a:lstStyle/>
        <a:p>
          <a:r>
            <a:rPr lang="en-US" sz="1000" b="0" dirty="0" smtClean="0">
              <a:solidFill>
                <a:schemeClr val="tx1"/>
              </a:solidFill>
            </a:rPr>
            <a:t>Score 0.997</a:t>
          </a:r>
          <a:endParaRPr lang="en-US" sz="1000" b="0" dirty="0">
            <a:solidFill>
              <a:schemeClr val="tx1"/>
            </a:solidFill>
          </a:endParaRPr>
        </a:p>
      </dgm:t>
    </dgm:pt>
    <dgm:pt modelId="{AD9C2C24-873E-41EE-8DA7-33496AE0B978}" type="parTrans" cxnId="{BC591011-2E13-470A-87B5-322E77DA8750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B837820F-BAF4-4288-8AAF-9675514EF3A5}" type="sibTrans" cxnId="{BC591011-2E13-470A-87B5-322E77DA8750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5C28F45B-96E9-45FF-AA9E-3E57991CD51D}">
      <dgm:prSet phldrT="[Text]" custT="1"/>
      <dgm:spPr/>
      <dgm:t>
        <a:bodyPr/>
        <a:lstStyle/>
        <a:p>
          <a:r>
            <a:rPr lang="en-US" sz="1000" b="0" dirty="0" smtClean="0">
              <a:solidFill>
                <a:schemeClr val="tx1"/>
              </a:solidFill>
            </a:rPr>
            <a:t>Specificity</a:t>
          </a:r>
          <a:endParaRPr lang="en-US" sz="1000" b="0" dirty="0">
            <a:solidFill>
              <a:schemeClr val="tx1"/>
            </a:solidFill>
          </a:endParaRPr>
        </a:p>
      </dgm:t>
    </dgm:pt>
    <dgm:pt modelId="{4245E934-8BA9-4020-A6CC-47748DA0E68E}" type="parTrans" cxnId="{DE686DCF-10C9-4F20-B9BE-233AAD89917D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3FBB9707-E43E-42CE-B448-C3BE9B1BF82F}" type="sibTrans" cxnId="{DE686DCF-10C9-4F20-B9BE-233AAD89917D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500099E8-48E7-4E22-BFFE-D83628682736}">
      <dgm:prSet phldrT="[Text]" custT="1"/>
      <dgm:spPr/>
      <dgm:t>
        <a:bodyPr/>
        <a:lstStyle/>
        <a:p>
          <a:r>
            <a:rPr lang="en-US" sz="1000" b="0" dirty="0" smtClean="0">
              <a:solidFill>
                <a:schemeClr val="tx1"/>
              </a:solidFill>
            </a:rPr>
            <a:t>Score 0.024</a:t>
          </a:r>
          <a:endParaRPr lang="en-US" sz="1000" b="0" dirty="0">
            <a:solidFill>
              <a:schemeClr val="tx1"/>
            </a:solidFill>
          </a:endParaRPr>
        </a:p>
      </dgm:t>
    </dgm:pt>
    <dgm:pt modelId="{A3ADA295-8D25-4897-800F-9D278F0F00B9}" type="parTrans" cxnId="{46334F22-C327-4B4E-9B3D-6812AA734CC2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CFE984BC-22C8-4EAD-A367-F42500476AD5}" type="sibTrans" cxnId="{46334F22-C327-4B4E-9B3D-6812AA734CC2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587CB606-6F4B-4892-A673-3362B5B20EB5}">
      <dgm:prSet phldrT="[Text]" custT="1"/>
      <dgm:spPr/>
      <dgm:t>
        <a:bodyPr/>
        <a:lstStyle/>
        <a:p>
          <a:r>
            <a:rPr lang="en-US" sz="1000" b="0" dirty="0" smtClean="0">
              <a:solidFill>
                <a:schemeClr val="tx1"/>
              </a:solidFill>
            </a:rPr>
            <a:t>G-Mean</a:t>
          </a:r>
          <a:endParaRPr lang="en-US" sz="1000" b="0" dirty="0">
            <a:solidFill>
              <a:schemeClr val="tx1"/>
            </a:solidFill>
          </a:endParaRPr>
        </a:p>
      </dgm:t>
    </dgm:pt>
    <dgm:pt modelId="{BD100B90-8962-4445-8783-A347D8F16B18}" type="parTrans" cxnId="{DB5E0763-D349-48A2-BAFB-537CC4F4D618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FE6585F2-F508-4EE5-971F-A024F659297A}" type="sibTrans" cxnId="{DB5E0763-D349-48A2-BAFB-537CC4F4D618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CEF225AE-0E44-4C02-9368-E2AD5A9757D7}">
      <dgm:prSet phldrT="[Text]" custT="1"/>
      <dgm:spPr/>
      <dgm:t>
        <a:bodyPr/>
        <a:lstStyle/>
        <a:p>
          <a:r>
            <a:rPr lang="en-US" sz="1000" b="0" dirty="0" smtClean="0">
              <a:solidFill>
                <a:schemeClr val="tx1"/>
              </a:solidFill>
            </a:rPr>
            <a:t>Score 0.155</a:t>
          </a:r>
          <a:endParaRPr lang="en-US" sz="1000" b="0" dirty="0">
            <a:solidFill>
              <a:schemeClr val="tx1"/>
            </a:solidFill>
          </a:endParaRPr>
        </a:p>
      </dgm:t>
    </dgm:pt>
    <dgm:pt modelId="{2A3A8465-0F95-4DE7-A81C-077D6D391112}" type="parTrans" cxnId="{E3F299EA-8FD7-4515-B7D3-CF3A3EA0A303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AC94A681-988B-44FA-9FDC-27D865BB8895}" type="sibTrans" cxnId="{E3F299EA-8FD7-4515-B7D3-CF3A3EA0A303}">
      <dgm:prSet/>
      <dgm:spPr/>
      <dgm:t>
        <a:bodyPr/>
        <a:lstStyle/>
        <a:p>
          <a:endParaRPr lang="en-US" sz="1000" b="0">
            <a:solidFill>
              <a:schemeClr val="tx1"/>
            </a:solidFill>
          </a:endParaRPr>
        </a:p>
      </dgm:t>
    </dgm:pt>
    <dgm:pt modelId="{C42D2301-803A-4B9F-B567-0E438F1E09F7}" type="pres">
      <dgm:prSet presAssocID="{730B53A8-8E10-4F91-A90E-0810A92AC1E7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5AF8321-62E4-4EAC-A5CF-358E087AFAD1}" type="pres">
      <dgm:prSet presAssocID="{B5057399-2B00-4E3D-B4E8-37FCD1A01D6F}" presName="compNode" presStyleCnt="0"/>
      <dgm:spPr/>
    </dgm:pt>
    <dgm:pt modelId="{E2075A4A-FF53-4D37-A8B9-4559B9CC2EBD}" type="pres">
      <dgm:prSet presAssocID="{B5057399-2B00-4E3D-B4E8-37FCD1A01D6F}" presName="noGeometry" presStyleCnt="0"/>
      <dgm:spPr/>
    </dgm:pt>
    <dgm:pt modelId="{6E33BBEE-2748-4B01-A0CF-A650F9B8CF8B}" type="pres">
      <dgm:prSet presAssocID="{B5057399-2B00-4E3D-B4E8-37FCD1A01D6F}" presName="childTextVisible" presStyleLbl="bg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2AE49A-C190-4D9C-A087-9EF328B95BD5}" type="pres">
      <dgm:prSet presAssocID="{B5057399-2B00-4E3D-B4E8-37FCD1A01D6F}" presName="childTextHidden" presStyleLbl="bgAccFollowNode1" presStyleIdx="0" presStyleCnt="5"/>
      <dgm:spPr/>
      <dgm:t>
        <a:bodyPr/>
        <a:lstStyle/>
        <a:p>
          <a:endParaRPr lang="en-US"/>
        </a:p>
      </dgm:t>
    </dgm:pt>
    <dgm:pt modelId="{541C1AE8-7F43-4E1A-B11E-4A1E56A0FE9B}" type="pres">
      <dgm:prSet presAssocID="{B5057399-2B00-4E3D-B4E8-37FCD1A01D6F}" presName="parentText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3C4CC7-4487-4249-9EDA-CDDCBB070998}" type="pres">
      <dgm:prSet presAssocID="{B5057399-2B00-4E3D-B4E8-37FCD1A01D6F}" presName="aSpace" presStyleCnt="0"/>
      <dgm:spPr/>
    </dgm:pt>
    <dgm:pt modelId="{A1C201E6-0BAE-4723-B378-4AF7EA345E5F}" type="pres">
      <dgm:prSet presAssocID="{0203323F-27A8-4E5E-A909-2E8295BDBED8}" presName="compNode" presStyleCnt="0"/>
      <dgm:spPr/>
    </dgm:pt>
    <dgm:pt modelId="{208A2233-510D-4452-A088-E082B8D7948E}" type="pres">
      <dgm:prSet presAssocID="{0203323F-27A8-4E5E-A909-2E8295BDBED8}" presName="noGeometry" presStyleCnt="0"/>
      <dgm:spPr/>
    </dgm:pt>
    <dgm:pt modelId="{CA680368-20ED-47CB-90A9-3049E699F282}" type="pres">
      <dgm:prSet presAssocID="{0203323F-27A8-4E5E-A909-2E8295BDBED8}" presName="childTextVisible" presStyleLbl="bg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DE9365-FAF1-4E5F-B8E6-6CFDC116B5E0}" type="pres">
      <dgm:prSet presAssocID="{0203323F-27A8-4E5E-A909-2E8295BDBED8}" presName="childTextHidden" presStyleLbl="bgAccFollowNode1" presStyleIdx="1" presStyleCnt="5"/>
      <dgm:spPr/>
      <dgm:t>
        <a:bodyPr/>
        <a:lstStyle/>
        <a:p>
          <a:endParaRPr lang="en-US"/>
        </a:p>
      </dgm:t>
    </dgm:pt>
    <dgm:pt modelId="{461DCF52-91B9-40E1-ABB8-588321849341}" type="pres">
      <dgm:prSet presAssocID="{0203323F-27A8-4E5E-A909-2E8295BDBED8}" presName="parentText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E53AFA-4B7D-44C6-8736-E7AC16113B5A}" type="pres">
      <dgm:prSet presAssocID="{0203323F-27A8-4E5E-A909-2E8295BDBED8}" presName="aSpace" presStyleCnt="0"/>
      <dgm:spPr/>
    </dgm:pt>
    <dgm:pt modelId="{E136A97C-8E00-44D2-8CFF-04FC3E2A3560}" type="pres">
      <dgm:prSet presAssocID="{0E25D8DE-BB0E-4BC3-8F2B-31CA0D99D10A}" presName="compNode" presStyleCnt="0"/>
      <dgm:spPr/>
    </dgm:pt>
    <dgm:pt modelId="{3B56AA49-A511-4A9B-9B1D-C30C3F2F0E71}" type="pres">
      <dgm:prSet presAssocID="{0E25D8DE-BB0E-4BC3-8F2B-31CA0D99D10A}" presName="noGeometry" presStyleCnt="0"/>
      <dgm:spPr/>
    </dgm:pt>
    <dgm:pt modelId="{F0DBE206-D475-4256-917A-8891F9E36E16}" type="pres">
      <dgm:prSet presAssocID="{0E25D8DE-BB0E-4BC3-8F2B-31CA0D99D10A}" presName="childTextVisible" presStyleLbl="bg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9D0ADF-83D3-49B6-A3E5-D184EC9AD228}" type="pres">
      <dgm:prSet presAssocID="{0E25D8DE-BB0E-4BC3-8F2B-31CA0D99D10A}" presName="childTextHidden" presStyleLbl="bgAccFollowNode1" presStyleIdx="2" presStyleCnt="5"/>
      <dgm:spPr/>
      <dgm:t>
        <a:bodyPr/>
        <a:lstStyle/>
        <a:p>
          <a:endParaRPr lang="en-US"/>
        </a:p>
      </dgm:t>
    </dgm:pt>
    <dgm:pt modelId="{6B129177-6E19-4004-972D-4194C20F63BF}" type="pres">
      <dgm:prSet presAssocID="{0E25D8DE-BB0E-4BC3-8F2B-31CA0D99D10A}" presName="parentText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F75B3D-FC4E-40E5-BF00-CFDCF95B8EE4}" type="pres">
      <dgm:prSet presAssocID="{0E25D8DE-BB0E-4BC3-8F2B-31CA0D99D10A}" presName="aSpace" presStyleCnt="0"/>
      <dgm:spPr/>
    </dgm:pt>
    <dgm:pt modelId="{34D79ED8-0FFE-4DD9-929D-6903450197D0}" type="pres">
      <dgm:prSet presAssocID="{5C28F45B-96E9-45FF-AA9E-3E57991CD51D}" presName="compNode" presStyleCnt="0"/>
      <dgm:spPr/>
    </dgm:pt>
    <dgm:pt modelId="{3AB18697-65B0-4653-B023-CDFF04D80F00}" type="pres">
      <dgm:prSet presAssocID="{5C28F45B-96E9-45FF-AA9E-3E57991CD51D}" presName="noGeometry" presStyleCnt="0"/>
      <dgm:spPr/>
    </dgm:pt>
    <dgm:pt modelId="{53BA36AA-8F88-4B22-8E10-F47A162F03E9}" type="pres">
      <dgm:prSet presAssocID="{5C28F45B-96E9-45FF-AA9E-3E57991CD51D}" presName="childTextVisible" presStyleLbl="bg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67747A-7A2D-4153-952B-39C306AA665D}" type="pres">
      <dgm:prSet presAssocID="{5C28F45B-96E9-45FF-AA9E-3E57991CD51D}" presName="childTextHidden" presStyleLbl="bgAccFollowNode1" presStyleIdx="3" presStyleCnt="5"/>
      <dgm:spPr/>
      <dgm:t>
        <a:bodyPr/>
        <a:lstStyle/>
        <a:p>
          <a:endParaRPr lang="en-US"/>
        </a:p>
      </dgm:t>
    </dgm:pt>
    <dgm:pt modelId="{50D6CE24-7847-4847-89AB-69CDEC508B17}" type="pres">
      <dgm:prSet presAssocID="{5C28F45B-96E9-45FF-AA9E-3E57991CD51D}" presName="parentText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812A49-2416-4466-B5F5-6FC53CD805A3}" type="pres">
      <dgm:prSet presAssocID="{5C28F45B-96E9-45FF-AA9E-3E57991CD51D}" presName="aSpace" presStyleCnt="0"/>
      <dgm:spPr/>
    </dgm:pt>
    <dgm:pt modelId="{9C8893B6-3F3D-46D1-871B-8407CE4A9BE5}" type="pres">
      <dgm:prSet presAssocID="{587CB606-6F4B-4892-A673-3362B5B20EB5}" presName="compNode" presStyleCnt="0"/>
      <dgm:spPr/>
    </dgm:pt>
    <dgm:pt modelId="{E510A9A3-4A3F-491A-AFB7-F4730B091358}" type="pres">
      <dgm:prSet presAssocID="{587CB606-6F4B-4892-A673-3362B5B20EB5}" presName="noGeometry" presStyleCnt="0"/>
      <dgm:spPr/>
    </dgm:pt>
    <dgm:pt modelId="{8539EBC5-CE3D-4E7C-AF94-217428F820A4}" type="pres">
      <dgm:prSet presAssocID="{587CB606-6F4B-4892-A673-3362B5B20EB5}" presName="childTextVisible" presStyleLbl="bg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4263F7-714A-438C-B2F5-B466A54335E9}" type="pres">
      <dgm:prSet presAssocID="{587CB606-6F4B-4892-A673-3362B5B20EB5}" presName="childTextHidden" presStyleLbl="bgAccFollowNode1" presStyleIdx="4" presStyleCnt="5"/>
      <dgm:spPr/>
      <dgm:t>
        <a:bodyPr/>
        <a:lstStyle/>
        <a:p>
          <a:endParaRPr lang="en-US"/>
        </a:p>
      </dgm:t>
    </dgm:pt>
    <dgm:pt modelId="{83E0E041-EADF-49C3-8422-DDB5EF78515E}" type="pres">
      <dgm:prSet presAssocID="{587CB606-6F4B-4892-A673-3362B5B20EB5}" presName="parentText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64CF749-6C05-452B-A4E8-E267E0F34AE9}" type="presOf" srcId="{500099E8-48E7-4E22-BFFE-D83628682736}" destId="{0567747A-7A2D-4153-952B-39C306AA665D}" srcOrd="1" destOrd="0" presId="urn:microsoft.com/office/officeart/2005/8/layout/hProcess6"/>
    <dgm:cxn modelId="{D5AB2D6F-B8F1-41C2-82AA-C56DB9AC9AF1}" type="presOf" srcId="{3478496C-A312-466A-9979-E08C105C6313}" destId="{412AE49A-C190-4D9C-A087-9EF328B95BD5}" srcOrd="1" destOrd="0" presId="urn:microsoft.com/office/officeart/2005/8/layout/hProcess6"/>
    <dgm:cxn modelId="{E8D263C1-72EB-413D-A279-A28F3165C94E}" type="presOf" srcId="{76F8C8B8-BD4E-4776-9962-CAA934A9D654}" destId="{3F9D0ADF-83D3-49B6-A3E5-D184EC9AD228}" srcOrd="1" destOrd="0" presId="urn:microsoft.com/office/officeart/2005/8/layout/hProcess6"/>
    <dgm:cxn modelId="{BC2E1C30-73BE-4E53-862B-9F7DB3D0B62D}" type="presOf" srcId="{0E25D8DE-BB0E-4BC3-8F2B-31CA0D99D10A}" destId="{6B129177-6E19-4004-972D-4194C20F63BF}" srcOrd="0" destOrd="0" presId="urn:microsoft.com/office/officeart/2005/8/layout/hProcess6"/>
    <dgm:cxn modelId="{272A8C7D-74AE-4F64-9F16-C67B527CD4CC}" type="presOf" srcId="{500099E8-48E7-4E22-BFFE-D83628682736}" destId="{53BA36AA-8F88-4B22-8E10-F47A162F03E9}" srcOrd="0" destOrd="0" presId="urn:microsoft.com/office/officeart/2005/8/layout/hProcess6"/>
    <dgm:cxn modelId="{23052D0D-011F-4FE4-91AF-1397FF3B46ED}" type="presOf" srcId="{3478496C-A312-466A-9979-E08C105C6313}" destId="{6E33BBEE-2748-4B01-A0CF-A650F9B8CF8B}" srcOrd="0" destOrd="0" presId="urn:microsoft.com/office/officeart/2005/8/layout/hProcess6"/>
    <dgm:cxn modelId="{88C03B17-06DA-45C2-908B-77E054F6F26B}" type="presOf" srcId="{CEF225AE-0E44-4C02-9368-E2AD5A9757D7}" destId="{824263F7-714A-438C-B2F5-B466A54335E9}" srcOrd="1" destOrd="0" presId="urn:microsoft.com/office/officeart/2005/8/layout/hProcess6"/>
    <dgm:cxn modelId="{BC591011-2E13-470A-87B5-322E77DA8750}" srcId="{0E25D8DE-BB0E-4BC3-8F2B-31CA0D99D10A}" destId="{76F8C8B8-BD4E-4776-9962-CAA934A9D654}" srcOrd="0" destOrd="0" parTransId="{AD9C2C24-873E-41EE-8DA7-33496AE0B978}" sibTransId="{B837820F-BAF4-4288-8AAF-9675514EF3A5}"/>
    <dgm:cxn modelId="{2650B014-876D-48C8-AB8B-25360D192141}" srcId="{730B53A8-8E10-4F91-A90E-0810A92AC1E7}" destId="{0203323F-27A8-4E5E-A909-2E8295BDBED8}" srcOrd="1" destOrd="0" parTransId="{A4ECE9D5-72E7-4405-9DD4-4BD339C0A5FB}" sibTransId="{087D90F1-B83C-4114-95CC-32F5C0E6EF0E}"/>
    <dgm:cxn modelId="{FB06D1B1-0E09-432F-8E72-6B4A807CB130}" type="presOf" srcId="{730B53A8-8E10-4F91-A90E-0810A92AC1E7}" destId="{C42D2301-803A-4B9F-B567-0E438F1E09F7}" srcOrd="0" destOrd="0" presId="urn:microsoft.com/office/officeart/2005/8/layout/hProcess6"/>
    <dgm:cxn modelId="{FC3043D1-68E2-4F2B-960D-5F22E0572157}" srcId="{B5057399-2B00-4E3D-B4E8-37FCD1A01D6F}" destId="{3478496C-A312-466A-9979-E08C105C6313}" srcOrd="0" destOrd="0" parTransId="{8F328876-1798-4CF3-8366-3EFFD0215DE9}" sibTransId="{F8B91907-7062-428B-B7A9-226BA87A49A1}"/>
    <dgm:cxn modelId="{0D92B61D-259E-4F39-A0D8-C4A0D343B539}" srcId="{730B53A8-8E10-4F91-A90E-0810A92AC1E7}" destId="{B5057399-2B00-4E3D-B4E8-37FCD1A01D6F}" srcOrd="0" destOrd="0" parTransId="{F3003E18-15E1-4F5D-B9B3-993FC10EEC87}" sibTransId="{E78778C9-67AB-44F2-816A-9A6E0405F2DA}"/>
    <dgm:cxn modelId="{C7E3437A-4A7C-443E-9CB6-ECFD8F757CC7}" type="presOf" srcId="{CEF225AE-0E44-4C02-9368-E2AD5A9757D7}" destId="{8539EBC5-CE3D-4E7C-AF94-217428F820A4}" srcOrd="0" destOrd="0" presId="urn:microsoft.com/office/officeart/2005/8/layout/hProcess6"/>
    <dgm:cxn modelId="{7773A44F-25AC-45CA-80A5-8E70D7B3A8FC}" type="presOf" srcId="{76F8C8B8-BD4E-4776-9962-CAA934A9D654}" destId="{F0DBE206-D475-4256-917A-8891F9E36E16}" srcOrd="0" destOrd="0" presId="urn:microsoft.com/office/officeart/2005/8/layout/hProcess6"/>
    <dgm:cxn modelId="{DB5E0763-D349-48A2-BAFB-537CC4F4D618}" srcId="{730B53A8-8E10-4F91-A90E-0810A92AC1E7}" destId="{587CB606-6F4B-4892-A673-3362B5B20EB5}" srcOrd="4" destOrd="0" parTransId="{BD100B90-8962-4445-8783-A347D8F16B18}" sibTransId="{FE6585F2-F508-4EE5-971F-A024F659297A}"/>
    <dgm:cxn modelId="{3AE420E2-8419-4D98-B0A4-5C2BCBAE5451}" type="presOf" srcId="{B5057399-2B00-4E3D-B4E8-37FCD1A01D6F}" destId="{541C1AE8-7F43-4E1A-B11E-4A1E56A0FE9B}" srcOrd="0" destOrd="0" presId="urn:microsoft.com/office/officeart/2005/8/layout/hProcess6"/>
    <dgm:cxn modelId="{E3F299EA-8FD7-4515-B7D3-CF3A3EA0A303}" srcId="{587CB606-6F4B-4892-A673-3362B5B20EB5}" destId="{CEF225AE-0E44-4C02-9368-E2AD5A9757D7}" srcOrd="0" destOrd="0" parTransId="{2A3A8465-0F95-4DE7-A81C-077D6D391112}" sibTransId="{AC94A681-988B-44FA-9FDC-27D865BB8895}"/>
    <dgm:cxn modelId="{46334F22-C327-4B4E-9B3D-6812AA734CC2}" srcId="{5C28F45B-96E9-45FF-AA9E-3E57991CD51D}" destId="{500099E8-48E7-4E22-BFFE-D83628682736}" srcOrd="0" destOrd="0" parTransId="{A3ADA295-8D25-4897-800F-9D278F0F00B9}" sibTransId="{CFE984BC-22C8-4EAD-A367-F42500476AD5}"/>
    <dgm:cxn modelId="{DE686DCF-10C9-4F20-B9BE-233AAD89917D}" srcId="{730B53A8-8E10-4F91-A90E-0810A92AC1E7}" destId="{5C28F45B-96E9-45FF-AA9E-3E57991CD51D}" srcOrd="3" destOrd="0" parTransId="{4245E934-8BA9-4020-A6CC-47748DA0E68E}" sibTransId="{3FBB9707-E43E-42CE-B448-C3BE9B1BF82F}"/>
    <dgm:cxn modelId="{C826C8FE-3B70-41D8-80D6-0BC9AE7362FB}" type="presOf" srcId="{587CB606-6F4B-4892-A673-3362B5B20EB5}" destId="{83E0E041-EADF-49C3-8422-DDB5EF78515E}" srcOrd="0" destOrd="0" presId="urn:microsoft.com/office/officeart/2005/8/layout/hProcess6"/>
    <dgm:cxn modelId="{360AFFC1-6FBF-44EE-8A10-5238A9BF7CD9}" srcId="{730B53A8-8E10-4F91-A90E-0810A92AC1E7}" destId="{0E25D8DE-BB0E-4BC3-8F2B-31CA0D99D10A}" srcOrd="2" destOrd="0" parTransId="{A0862819-FDC2-4D9E-AE58-E7A67AB5387E}" sibTransId="{842779C3-368E-4142-A0A8-D2D60A1A14FA}"/>
    <dgm:cxn modelId="{02B831BA-2459-4207-B8C1-19836E125784}" type="presOf" srcId="{0203323F-27A8-4E5E-A909-2E8295BDBED8}" destId="{461DCF52-91B9-40E1-ABB8-588321849341}" srcOrd="0" destOrd="0" presId="urn:microsoft.com/office/officeart/2005/8/layout/hProcess6"/>
    <dgm:cxn modelId="{05A8025E-E1B8-48F0-8A69-5FB5A51C1196}" type="presOf" srcId="{83F17B94-CF11-424E-9AAB-FBC285F1AD8F}" destId="{CA680368-20ED-47CB-90A9-3049E699F282}" srcOrd="0" destOrd="0" presId="urn:microsoft.com/office/officeart/2005/8/layout/hProcess6"/>
    <dgm:cxn modelId="{796CC097-4BF0-45F0-80CA-27DBF19590AC}" type="presOf" srcId="{5C28F45B-96E9-45FF-AA9E-3E57991CD51D}" destId="{50D6CE24-7847-4847-89AB-69CDEC508B17}" srcOrd="0" destOrd="0" presId="urn:microsoft.com/office/officeart/2005/8/layout/hProcess6"/>
    <dgm:cxn modelId="{611D25DD-6D11-463C-AF41-E27DAD208BFF}" type="presOf" srcId="{83F17B94-CF11-424E-9AAB-FBC285F1AD8F}" destId="{04DE9365-FAF1-4E5F-B8E6-6CFDC116B5E0}" srcOrd="1" destOrd="0" presId="urn:microsoft.com/office/officeart/2005/8/layout/hProcess6"/>
    <dgm:cxn modelId="{C6DA57A6-398B-4579-AFB2-2DFBCF8EED11}" srcId="{0203323F-27A8-4E5E-A909-2E8295BDBED8}" destId="{83F17B94-CF11-424E-9AAB-FBC285F1AD8F}" srcOrd="0" destOrd="0" parTransId="{90050B57-9392-463B-A789-5E5545DD4542}" sibTransId="{92AC0FE9-9FFE-4A43-A1C4-C8C51A272DA4}"/>
    <dgm:cxn modelId="{449D0C9F-A33A-4B01-B2FB-F90A3B66E641}" type="presParOf" srcId="{C42D2301-803A-4B9F-B567-0E438F1E09F7}" destId="{F5AF8321-62E4-4EAC-A5CF-358E087AFAD1}" srcOrd="0" destOrd="0" presId="urn:microsoft.com/office/officeart/2005/8/layout/hProcess6"/>
    <dgm:cxn modelId="{3F9B0CCA-818B-4B59-8BAA-97ED87B31B33}" type="presParOf" srcId="{F5AF8321-62E4-4EAC-A5CF-358E087AFAD1}" destId="{E2075A4A-FF53-4D37-A8B9-4559B9CC2EBD}" srcOrd="0" destOrd="0" presId="urn:microsoft.com/office/officeart/2005/8/layout/hProcess6"/>
    <dgm:cxn modelId="{5F54DCBD-4F77-4296-AA9F-CE3AFFFD5B28}" type="presParOf" srcId="{F5AF8321-62E4-4EAC-A5CF-358E087AFAD1}" destId="{6E33BBEE-2748-4B01-A0CF-A650F9B8CF8B}" srcOrd="1" destOrd="0" presId="urn:microsoft.com/office/officeart/2005/8/layout/hProcess6"/>
    <dgm:cxn modelId="{06F2DD91-DF9B-4206-A16C-9930C1ECB661}" type="presParOf" srcId="{F5AF8321-62E4-4EAC-A5CF-358E087AFAD1}" destId="{412AE49A-C190-4D9C-A087-9EF328B95BD5}" srcOrd="2" destOrd="0" presId="urn:microsoft.com/office/officeart/2005/8/layout/hProcess6"/>
    <dgm:cxn modelId="{48EBD428-660E-4334-A267-96E244465FF0}" type="presParOf" srcId="{F5AF8321-62E4-4EAC-A5CF-358E087AFAD1}" destId="{541C1AE8-7F43-4E1A-B11E-4A1E56A0FE9B}" srcOrd="3" destOrd="0" presId="urn:microsoft.com/office/officeart/2005/8/layout/hProcess6"/>
    <dgm:cxn modelId="{F1981B52-7F01-45B4-A5AC-203EFB087092}" type="presParOf" srcId="{C42D2301-803A-4B9F-B567-0E438F1E09F7}" destId="{033C4CC7-4487-4249-9EDA-CDDCBB070998}" srcOrd="1" destOrd="0" presId="urn:microsoft.com/office/officeart/2005/8/layout/hProcess6"/>
    <dgm:cxn modelId="{DB2A2302-DE68-4D99-B70E-08DF84551898}" type="presParOf" srcId="{C42D2301-803A-4B9F-B567-0E438F1E09F7}" destId="{A1C201E6-0BAE-4723-B378-4AF7EA345E5F}" srcOrd="2" destOrd="0" presId="urn:microsoft.com/office/officeart/2005/8/layout/hProcess6"/>
    <dgm:cxn modelId="{FD6128E1-312C-4011-93F3-F7EC2D998A3E}" type="presParOf" srcId="{A1C201E6-0BAE-4723-B378-4AF7EA345E5F}" destId="{208A2233-510D-4452-A088-E082B8D7948E}" srcOrd="0" destOrd="0" presId="urn:microsoft.com/office/officeart/2005/8/layout/hProcess6"/>
    <dgm:cxn modelId="{E2BA8993-C802-4AF5-8B66-F66CB9D65111}" type="presParOf" srcId="{A1C201E6-0BAE-4723-B378-4AF7EA345E5F}" destId="{CA680368-20ED-47CB-90A9-3049E699F282}" srcOrd="1" destOrd="0" presId="urn:microsoft.com/office/officeart/2005/8/layout/hProcess6"/>
    <dgm:cxn modelId="{4E19EB8C-8D91-495E-94B1-CE71CBE47EB0}" type="presParOf" srcId="{A1C201E6-0BAE-4723-B378-4AF7EA345E5F}" destId="{04DE9365-FAF1-4E5F-B8E6-6CFDC116B5E0}" srcOrd="2" destOrd="0" presId="urn:microsoft.com/office/officeart/2005/8/layout/hProcess6"/>
    <dgm:cxn modelId="{EBCE0640-CCCC-4197-9302-EB20F1594452}" type="presParOf" srcId="{A1C201E6-0BAE-4723-B378-4AF7EA345E5F}" destId="{461DCF52-91B9-40E1-ABB8-588321849341}" srcOrd="3" destOrd="0" presId="urn:microsoft.com/office/officeart/2005/8/layout/hProcess6"/>
    <dgm:cxn modelId="{8AA380D8-2C96-4696-9A4C-F37BBB6E60B2}" type="presParOf" srcId="{C42D2301-803A-4B9F-B567-0E438F1E09F7}" destId="{72E53AFA-4B7D-44C6-8736-E7AC16113B5A}" srcOrd="3" destOrd="0" presId="urn:microsoft.com/office/officeart/2005/8/layout/hProcess6"/>
    <dgm:cxn modelId="{E1133E6B-B5EE-45A5-AB4A-4C048BA4075D}" type="presParOf" srcId="{C42D2301-803A-4B9F-B567-0E438F1E09F7}" destId="{E136A97C-8E00-44D2-8CFF-04FC3E2A3560}" srcOrd="4" destOrd="0" presId="urn:microsoft.com/office/officeart/2005/8/layout/hProcess6"/>
    <dgm:cxn modelId="{395F82C1-87B4-4016-9A9B-14D80E0386A5}" type="presParOf" srcId="{E136A97C-8E00-44D2-8CFF-04FC3E2A3560}" destId="{3B56AA49-A511-4A9B-9B1D-C30C3F2F0E71}" srcOrd="0" destOrd="0" presId="urn:microsoft.com/office/officeart/2005/8/layout/hProcess6"/>
    <dgm:cxn modelId="{2237A8D5-9982-4EAE-8BF9-8301F9F38DF5}" type="presParOf" srcId="{E136A97C-8E00-44D2-8CFF-04FC3E2A3560}" destId="{F0DBE206-D475-4256-917A-8891F9E36E16}" srcOrd="1" destOrd="0" presId="urn:microsoft.com/office/officeart/2005/8/layout/hProcess6"/>
    <dgm:cxn modelId="{B21C9B3B-AEEE-444D-8809-00F435378E3B}" type="presParOf" srcId="{E136A97C-8E00-44D2-8CFF-04FC3E2A3560}" destId="{3F9D0ADF-83D3-49B6-A3E5-D184EC9AD228}" srcOrd="2" destOrd="0" presId="urn:microsoft.com/office/officeart/2005/8/layout/hProcess6"/>
    <dgm:cxn modelId="{0817AB37-2E8E-494A-BBC8-4ABB44C0E664}" type="presParOf" srcId="{E136A97C-8E00-44D2-8CFF-04FC3E2A3560}" destId="{6B129177-6E19-4004-972D-4194C20F63BF}" srcOrd="3" destOrd="0" presId="urn:microsoft.com/office/officeart/2005/8/layout/hProcess6"/>
    <dgm:cxn modelId="{E581F960-8248-408B-BE23-48EE19A2FABF}" type="presParOf" srcId="{C42D2301-803A-4B9F-B567-0E438F1E09F7}" destId="{56F75B3D-FC4E-40E5-BF00-CFDCF95B8EE4}" srcOrd="5" destOrd="0" presId="urn:microsoft.com/office/officeart/2005/8/layout/hProcess6"/>
    <dgm:cxn modelId="{CDA711FF-6E21-407A-862B-22CAE6203F03}" type="presParOf" srcId="{C42D2301-803A-4B9F-B567-0E438F1E09F7}" destId="{34D79ED8-0FFE-4DD9-929D-6903450197D0}" srcOrd="6" destOrd="0" presId="urn:microsoft.com/office/officeart/2005/8/layout/hProcess6"/>
    <dgm:cxn modelId="{379B713A-6BDA-46BB-8180-06D849DA8DE8}" type="presParOf" srcId="{34D79ED8-0FFE-4DD9-929D-6903450197D0}" destId="{3AB18697-65B0-4653-B023-CDFF04D80F00}" srcOrd="0" destOrd="0" presId="urn:microsoft.com/office/officeart/2005/8/layout/hProcess6"/>
    <dgm:cxn modelId="{6C3CEE1F-23F9-4B0A-A175-9B99DA06F8CB}" type="presParOf" srcId="{34D79ED8-0FFE-4DD9-929D-6903450197D0}" destId="{53BA36AA-8F88-4B22-8E10-F47A162F03E9}" srcOrd="1" destOrd="0" presId="urn:microsoft.com/office/officeart/2005/8/layout/hProcess6"/>
    <dgm:cxn modelId="{F0C0CF13-0BB6-43FA-8365-FA9EE1F86B9B}" type="presParOf" srcId="{34D79ED8-0FFE-4DD9-929D-6903450197D0}" destId="{0567747A-7A2D-4153-952B-39C306AA665D}" srcOrd="2" destOrd="0" presId="urn:microsoft.com/office/officeart/2005/8/layout/hProcess6"/>
    <dgm:cxn modelId="{303AD6A9-69AC-43BF-B5DB-4B611FC0E53F}" type="presParOf" srcId="{34D79ED8-0FFE-4DD9-929D-6903450197D0}" destId="{50D6CE24-7847-4847-89AB-69CDEC508B17}" srcOrd="3" destOrd="0" presId="urn:microsoft.com/office/officeart/2005/8/layout/hProcess6"/>
    <dgm:cxn modelId="{0FF8AD60-2772-487C-A841-5A30829446E3}" type="presParOf" srcId="{C42D2301-803A-4B9F-B567-0E438F1E09F7}" destId="{9D812A49-2416-4466-B5F5-6FC53CD805A3}" srcOrd="7" destOrd="0" presId="urn:microsoft.com/office/officeart/2005/8/layout/hProcess6"/>
    <dgm:cxn modelId="{F62E8F3B-577B-4B90-8B3D-353465D975DC}" type="presParOf" srcId="{C42D2301-803A-4B9F-B567-0E438F1E09F7}" destId="{9C8893B6-3F3D-46D1-871B-8407CE4A9BE5}" srcOrd="8" destOrd="0" presId="urn:microsoft.com/office/officeart/2005/8/layout/hProcess6"/>
    <dgm:cxn modelId="{30EC8604-0B49-4D3E-8750-907D2BF65338}" type="presParOf" srcId="{9C8893B6-3F3D-46D1-871B-8407CE4A9BE5}" destId="{E510A9A3-4A3F-491A-AFB7-F4730B091358}" srcOrd="0" destOrd="0" presId="urn:microsoft.com/office/officeart/2005/8/layout/hProcess6"/>
    <dgm:cxn modelId="{8ADC6D24-09F5-4FCE-BB3D-9C258AB1D662}" type="presParOf" srcId="{9C8893B6-3F3D-46D1-871B-8407CE4A9BE5}" destId="{8539EBC5-CE3D-4E7C-AF94-217428F820A4}" srcOrd="1" destOrd="0" presId="urn:microsoft.com/office/officeart/2005/8/layout/hProcess6"/>
    <dgm:cxn modelId="{5BBEB4D3-1C54-4AE6-BA2B-2F9E14AE8B2B}" type="presParOf" srcId="{9C8893B6-3F3D-46D1-871B-8407CE4A9BE5}" destId="{824263F7-714A-438C-B2F5-B466A54335E9}" srcOrd="2" destOrd="0" presId="urn:microsoft.com/office/officeart/2005/8/layout/hProcess6"/>
    <dgm:cxn modelId="{61022573-8993-4A02-A8A5-0CFC30C80353}" type="presParOf" srcId="{9C8893B6-3F3D-46D1-871B-8407CE4A9BE5}" destId="{83E0E041-EADF-49C3-8422-DDB5EF78515E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0E0E261-EBC7-4027-BB39-9D209F57DA6F}" type="doc">
      <dgm:prSet loTypeId="urn:microsoft.com/office/officeart/2005/8/layout/process4" loCatId="process" qsTypeId="urn:microsoft.com/office/officeart/2005/8/quickstyle/simple5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D2630E99-CBA7-4065-8FDF-F44BB8D34DBF}">
      <dgm:prSet phldrT="[Text]" custT="1"/>
      <dgm:spPr/>
      <dgm:t>
        <a:bodyPr/>
        <a:lstStyle/>
        <a:p>
          <a:r>
            <a:rPr lang="en-US" sz="2400" dirty="0" smtClean="0"/>
            <a:t>Pre-Facto Post-Facto</a:t>
          </a:r>
          <a:endParaRPr lang="en-US" sz="2400" dirty="0"/>
        </a:p>
      </dgm:t>
    </dgm:pt>
    <dgm:pt modelId="{DB55AAC8-EE8F-410E-B096-4EBED9B242A9}" type="parTrans" cxnId="{78FC40CC-A9ED-4E14-8F13-C481B7C94CC9}">
      <dgm:prSet/>
      <dgm:spPr/>
      <dgm:t>
        <a:bodyPr/>
        <a:lstStyle/>
        <a:p>
          <a:endParaRPr lang="en-US"/>
        </a:p>
      </dgm:t>
    </dgm:pt>
    <dgm:pt modelId="{D12B110E-8694-4EC2-BBC4-4349312FE059}" type="sibTrans" cxnId="{78FC40CC-A9ED-4E14-8F13-C481B7C94CC9}">
      <dgm:prSet/>
      <dgm:spPr/>
      <dgm:t>
        <a:bodyPr/>
        <a:lstStyle/>
        <a:p>
          <a:endParaRPr lang="en-US"/>
        </a:p>
      </dgm:t>
    </dgm:pt>
    <dgm:pt modelId="{79C9272A-12CA-40D5-A155-E22FEFC415BA}">
      <dgm:prSet phldrT="[Text]"/>
      <dgm:spPr/>
      <dgm:t>
        <a:bodyPr/>
        <a:lstStyle/>
        <a:p>
          <a:r>
            <a:rPr lang="en-US" dirty="0" smtClean="0"/>
            <a:t>Select Correct Features </a:t>
          </a:r>
          <a:endParaRPr lang="en-US" dirty="0"/>
        </a:p>
      </dgm:t>
    </dgm:pt>
    <dgm:pt modelId="{47738A00-9FB2-4487-BC4E-13957168BFF9}" type="parTrans" cxnId="{16BC6233-C96C-4C26-8DB4-1A47362E61D9}">
      <dgm:prSet/>
      <dgm:spPr/>
      <dgm:t>
        <a:bodyPr/>
        <a:lstStyle/>
        <a:p>
          <a:endParaRPr lang="en-US"/>
        </a:p>
      </dgm:t>
    </dgm:pt>
    <dgm:pt modelId="{3DC22CB7-472D-4C0F-BA18-0AAEEB58999B}" type="sibTrans" cxnId="{16BC6233-C96C-4C26-8DB4-1A47362E61D9}">
      <dgm:prSet/>
      <dgm:spPr/>
      <dgm:t>
        <a:bodyPr/>
        <a:lstStyle/>
        <a:p>
          <a:endParaRPr lang="en-US"/>
        </a:p>
      </dgm:t>
    </dgm:pt>
    <dgm:pt modelId="{F8FA89BB-5B9C-4740-9714-0046B51F0A9A}">
      <dgm:prSet phldrT="[Text]" custT="1"/>
      <dgm:spPr/>
      <dgm:t>
        <a:bodyPr/>
        <a:lstStyle/>
        <a:p>
          <a:r>
            <a:rPr lang="en-US" sz="2400" dirty="0" smtClean="0"/>
            <a:t>Stratified Split</a:t>
          </a:r>
          <a:endParaRPr lang="en-US" sz="2400" dirty="0"/>
        </a:p>
      </dgm:t>
    </dgm:pt>
    <dgm:pt modelId="{987E76FE-2A56-415B-92E4-814D2807E19A}" type="parTrans" cxnId="{292EF8A6-FE6B-435A-8A6F-537D6C2DB391}">
      <dgm:prSet/>
      <dgm:spPr/>
      <dgm:t>
        <a:bodyPr/>
        <a:lstStyle/>
        <a:p>
          <a:endParaRPr lang="en-US"/>
        </a:p>
      </dgm:t>
    </dgm:pt>
    <dgm:pt modelId="{10A0C0CC-B37C-4C1A-A4ED-D1E8DC792002}" type="sibTrans" cxnId="{292EF8A6-FE6B-435A-8A6F-537D6C2DB391}">
      <dgm:prSet/>
      <dgm:spPr/>
      <dgm:t>
        <a:bodyPr/>
        <a:lstStyle/>
        <a:p>
          <a:endParaRPr lang="en-US"/>
        </a:p>
      </dgm:t>
    </dgm:pt>
    <dgm:pt modelId="{CC95F4A5-1052-44AF-8287-813CA84C8B23}">
      <dgm:prSet phldrT="[Text]" custT="1"/>
      <dgm:spPr/>
      <dgm:t>
        <a:bodyPr/>
        <a:lstStyle/>
        <a:p>
          <a:r>
            <a:rPr lang="en-US" sz="2400" dirty="0" smtClean="0"/>
            <a:t>SMOTE</a:t>
          </a:r>
          <a:endParaRPr lang="en-US" sz="2400" dirty="0"/>
        </a:p>
      </dgm:t>
    </dgm:pt>
    <dgm:pt modelId="{46FB21B0-811A-421D-82D5-E2854D43D8C1}" type="parTrans" cxnId="{E3017C1F-5B99-40BA-8825-B4646F3B121D}">
      <dgm:prSet/>
      <dgm:spPr/>
      <dgm:t>
        <a:bodyPr/>
        <a:lstStyle/>
        <a:p>
          <a:endParaRPr lang="en-US"/>
        </a:p>
      </dgm:t>
    </dgm:pt>
    <dgm:pt modelId="{3C16C80B-8B19-440C-BDC7-2192AEC99721}" type="sibTrans" cxnId="{E3017C1F-5B99-40BA-8825-B4646F3B121D}">
      <dgm:prSet/>
      <dgm:spPr/>
      <dgm:t>
        <a:bodyPr/>
        <a:lstStyle/>
        <a:p>
          <a:endParaRPr lang="en-US"/>
        </a:p>
      </dgm:t>
    </dgm:pt>
    <dgm:pt modelId="{09A93F22-DB9D-4168-A3FA-58DCC77A9B61}">
      <dgm:prSet phldrT="[Text]"/>
      <dgm:spPr/>
      <dgm:t>
        <a:bodyPr/>
        <a:lstStyle/>
        <a:p>
          <a:r>
            <a:rPr lang="en-US" dirty="0" smtClean="0"/>
            <a:t>Address Imbalanced Data</a:t>
          </a:r>
          <a:endParaRPr lang="en-US" dirty="0"/>
        </a:p>
      </dgm:t>
    </dgm:pt>
    <dgm:pt modelId="{53A2CE08-91F3-4539-9FC6-7EB422C375E3}" type="parTrans" cxnId="{254FBAB4-CC2C-482C-8A58-7ADB3E43FCA5}">
      <dgm:prSet/>
      <dgm:spPr/>
      <dgm:t>
        <a:bodyPr/>
        <a:lstStyle/>
        <a:p>
          <a:endParaRPr lang="en-US"/>
        </a:p>
      </dgm:t>
    </dgm:pt>
    <dgm:pt modelId="{6FBA870E-21E3-4D58-8FA4-89FE8ADACE26}" type="sibTrans" cxnId="{254FBAB4-CC2C-482C-8A58-7ADB3E43FCA5}">
      <dgm:prSet/>
      <dgm:spPr/>
      <dgm:t>
        <a:bodyPr/>
        <a:lstStyle/>
        <a:p>
          <a:endParaRPr lang="en-US"/>
        </a:p>
      </dgm:t>
    </dgm:pt>
    <dgm:pt modelId="{9DF26328-3827-42C0-AB56-800CD3F5DB76}">
      <dgm:prSet phldrT="[Text]" custT="1"/>
      <dgm:spPr/>
      <dgm:t>
        <a:bodyPr/>
        <a:lstStyle/>
        <a:p>
          <a:r>
            <a:rPr lang="en-US" sz="2400" dirty="0" smtClean="0"/>
            <a:t>Supervised Classification Model</a:t>
          </a:r>
          <a:endParaRPr lang="en-US" sz="2400" dirty="0"/>
        </a:p>
      </dgm:t>
    </dgm:pt>
    <dgm:pt modelId="{31C45A46-636E-4961-81BA-E0B4F40E0AA7}" type="parTrans" cxnId="{6F2E1BD2-9B7B-49E9-B60D-2DB327295B92}">
      <dgm:prSet/>
      <dgm:spPr/>
      <dgm:t>
        <a:bodyPr/>
        <a:lstStyle/>
        <a:p>
          <a:endParaRPr lang="en-US"/>
        </a:p>
      </dgm:t>
    </dgm:pt>
    <dgm:pt modelId="{9288FFC9-4689-419C-A3C5-A775F8DEECFE}" type="sibTrans" cxnId="{6F2E1BD2-9B7B-49E9-B60D-2DB327295B92}">
      <dgm:prSet/>
      <dgm:spPr/>
      <dgm:t>
        <a:bodyPr/>
        <a:lstStyle/>
        <a:p>
          <a:endParaRPr lang="en-US"/>
        </a:p>
      </dgm:t>
    </dgm:pt>
    <dgm:pt modelId="{416EACF0-ABE0-4FF3-B94F-31F553489261}">
      <dgm:prSet phldrT="[Text]" custT="1"/>
      <dgm:spPr/>
      <dgm:t>
        <a:bodyPr/>
        <a:lstStyle/>
        <a:p>
          <a:r>
            <a:rPr lang="en-US" sz="2400" dirty="0" smtClean="0"/>
            <a:t>Hyperparameters Tuning</a:t>
          </a:r>
          <a:endParaRPr lang="en-US" sz="2400" dirty="0"/>
        </a:p>
      </dgm:t>
    </dgm:pt>
    <dgm:pt modelId="{B3500E5D-09B7-4D2D-AFEF-B25BB3119864}" type="parTrans" cxnId="{A2F72351-D90E-44AF-A52A-1B0CFABCE5F0}">
      <dgm:prSet/>
      <dgm:spPr/>
      <dgm:t>
        <a:bodyPr/>
        <a:lstStyle/>
        <a:p>
          <a:endParaRPr lang="en-US"/>
        </a:p>
      </dgm:t>
    </dgm:pt>
    <dgm:pt modelId="{9816C993-B14E-4B23-9CE0-CBFBD7F102B5}" type="sibTrans" cxnId="{A2F72351-D90E-44AF-A52A-1B0CFABCE5F0}">
      <dgm:prSet/>
      <dgm:spPr/>
      <dgm:t>
        <a:bodyPr/>
        <a:lstStyle/>
        <a:p>
          <a:endParaRPr lang="en-US"/>
        </a:p>
      </dgm:t>
    </dgm:pt>
    <dgm:pt modelId="{9D9704DD-5AAB-4A38-BA81-06142AAE75A5}">
      <dgm:prSet phldrT="[Text]"/>
      <dgm:spPr/>
      <dgm:t>
        <a:bodyPr/>
        <a:lstStyle/>
        <a:p>
          <a:r>
            <a:rPr lang="en-US" dirty="0" smtClean="0"/>
            <a:t>Evaluate Different Techniques</a:t>
          </a:r>
          <a:endParaRPr lang="en-US" dirty="0"/>
        </a:p>
      </dgm:t>
    </dgm:pt>
    <dgm:pt modelId="{F598AB4C-FA4F-40AD-9C0F-1D4FD896E351}" type="parTrans" cxnId="{D4A44DE0-2880-4861-B1EC-99664FCE5141}">
      <dgm:prSet/>
      <dgm:spPr/>
      <dgm:t>
        <a:bodyPr/>
        <a:lstStyle/>
        <a:p>
          <a:endParaRPr lang="en-US"/>
        </a:p>
      </dgm:t>
    </dgm:pt>
    <dgm:pt modelId="{09E96E63-BB89-431A-8B35-12407F8B6F82}" type="sibTrans" cxnId="{D4A44DE0-2880-4861-B1EC-99664FCE5141}">
      <dgm:prSet/>
      <dgm:spPr/>
      <dgm:t>
        <a:bodyPr/>
        <a:lstStyle/>
        <a:p>
          <a:endParaRPr lang="en-US"/>
        </a:p>
      </dgm:t>
    </dgm:pt>
    <dgm:pt modelId="{15F80503-6E69-4ABD-8A46-A4F77EFE0A6A}">
      <dgm:prSet phldrT="[Text]" custT="1"/>
      <dgm:spPr/>
      <dgm:t>
        <a:bodyPr/>
        <a:lstStyle/>
        <a:p>
          <a:r>
            <a:rPr lang="en-US" sz="2400" dirty="0" smtClean="0"/>
            <a:t>Explore Alternative Approaches</a:t>
          </a:r>
          <a:endParaRPr lang="en-US" sz="2400" dirty="0"/>
        </a:p>
      </dgm:t>
    </dgm:pt>
    <dgm:pt modelId="{3AE1B905-DAA7-46F9-90CE-6208CA056697}" type="parTrans" cxnId="{6A788EBE-1A32-4A16-9A40-F95D6E5101F5}">
      <dgm:prSet/>
      <dgm:spPr/>
      <dgm:t>
        <a:bodyPr/>
        <a:lstStyle/>
        <a:p>
          <a:endParaRPr lang="en-US"/>
        </a:p>
      </dgm:t>
    </dgm:pt>
    <dgm:pt modelId="{CEA2CF3A-E6BD-4847-B388-3E741CE7E614}" type="sibTrans" cxnId="{6A788EBE-1A32-4A16-9A40-F95D6E5101F5}">
      <dgm:prSet/>
      <dgm:spPr/>
      <dgm:t>
        <a:bodyPr/>
        <a:lstStyle/>
        <a:p>
          <a:endParaRPr lang="en-US"/>
        </a:p>
      </dgm:t>
    </dgm:pt>
    <dgm:pt modelId="{FAED7B68-9D68-4BD1-BB96-212C1B458E00}">
      <dgm:prSet phldrT="[Text]"/>
      <dgm:spPr/>
      <dgm:t>
        <a:bodyPr/>
        <a:lstStyle/>
        <a:p>
          <a:r>
            <a:rPr lang="en-US" dirty="0" smtClean="0"/>
            <a:t>Anomaly Detections</a:t>
          </a:r>
          <a:endParaRPr lang="en-US" dirty="0"/>
        </a:p>
      </dgm:t>
    </dgm:pt>
    <dgm:pt modelId="{82B38873-F19C-4FE3-AD08-062A197B1BDB}" type="parTrans" cxnId="{D63E15E8-ACD5-4F8F-B846-A01B683F9FC8}">
      <dgm:prSet/>
      <dgm:spPr/>
      <dgm:t>
        <a:bodyPr/>
        <a:lstStyle/>
        <a:p>
          <a:endParaRPr lang="en-US"/>
        </a:p>
      </dgm:t>
    </dgm:pt>
    <dgm:pt modelId="{0EC8BE08-E427-4C86-971A-FCC3D530B364}" type="sibTrans" cxnId="{D63E15E8-ACD5-4F8F-B846-A01B683F9FC8}">
      <dgm:prSet/>
      <dgm:spPr/>
      <dgm:t>
        <a:bodyPr/>
        <a:lstStyle/>
        <a:p>
          <a:endParaRPr lang="en-US"/>
        </a:p>
      </dgm:t>
    </dgm:pt>
    <dgm:pt modelId="{24544602-2E82-4A01-991B-BC016F2F8BAF}">
      <dgm:prSet phldrT="[Text]"/>
      <dgm:spPr/>
      <dgm:t>
        <a:bodyPr/>
        <a:lstStyle/>
        <a:p>
          <a:r>
            <a:rPr lang="en-US" dirty="0" smtClean="0"/>
            <a:t>Train and Test Dataset proportional</a:t>
          </a:r>
          <a:endParaRPr lang="en-US" dirty="0"/>
        </a:p>
      </dgm:t>
    </dgm:pt>
    <dgm:pt modelId="{87E8D435-B67C-4A15-B00F-A0EEB3C0E0EB}" type="parTrans" cxnId="{3D57171C-ABCA-437C-A531-BB71EA750DBB}">
      <dgm:prSet/>
      <dgm:spPr/>
      <dgm:t>
        <a:bodyPr/>
        <a:lstStyle/>
        <a:p>
          <a:endParaRPr lang="en-US"/>
        </a:p>
      </dgm:t>
    </dgm:pt>
    <dgm:pt modelId="{057ACFF9-950F-448F-80AF-D9AD75498B7D}" type="sibTrans" cxnId="{3D57171C-ABCA-437C-A531-BB71EA750DBB}">
      <dgm:prSet/>
      <dgm:spPr/>
      <dgm:t>
        <a:bodyPr/>
        <a:lstStyle/>
        <a:p>
          <a:endParaRPr lang="en-US"/>
        </a:p>
      </dgm:t>
    </dgm:pt>
    <dgm:pt modelId="{1028798D-DB5A-4600-81B4-F3341155D333}">
      <dgm:prSet phldrT="[Text]"/>
      <dgm:spPr/>
      <dgm:t>
        <a:bodyPr/>
        <a:lstStyle/>
        <a:p>
          <a:r>
            <a:rPr lang="en-US" dirty="0" smtClean="0"/>
            <a:t>Evaluate Two Class Models</a:t>
          </a:r>
          <a:endParaRPr lang="en-US" dirty="0"/>
        </a:p>
      </dgm:t>
    </dgm:pt>
    <dgm:pt modelId="{F426E7C0-057A-4B17-8559-A2EB729C266B}" type="parTrans" cxnId="{11552310-3875-4173-A750-789AE3E92329}">
      <dgm:prSet/>
      <dgm:spPr/>
      <dgm:t>
        <a:bodyPr/>
        <a:lstStyle/>
        <a:p>
          <a:endParaRPr lang="en-US"/>
        </a:p>
      </dgm:t>
    </dgm:pt>
    <dgm:pt modelId="{28AB9758-041F-46EE-B6EB-E6B90172BB35}" type="sibTrans" cxnId="{11552310-3875-4173-A750-789AE3E92329}">
      <dgm:prSet/>
      <dgm:spPr/>
      <dgm:t>
        <a:bodyPr/>
        <a:lstStyle/>
        <a:p>
          <a:endParaRPr lang="en-US"/>
        </a:p>
      </dgm:t>
    </dgm:pt>
    <dgm:pt modelId="{DA55357A-480B-4E7C-98CF-094C4B21D5D5}">
      <dgm:prSet phldrT="[Text]"/>
      <dgm:spPr/>
      <dgm:t>
        <a:bodyPr/>
        <a:lstStyle/>
        <a:p>
          <a:r>
            <a:rPr lang="en-US" dirty="0" smtClean="0"/>
            <a:t>Time Series Analysis</a:t>
          </a:r>
          <a:endParaRPr lang="en-US" dirty="0"/>
        </a:p>
      </dgm:t>
    </dgm:pt>
    <dgm:pt modelId="{821DFD2F-F17C-4DCB-8081-0BA22EF7BE88}" type="parTrans" cxnId="{D5709A81-7948-40C1-955E-4977B77F3EEF}">
      <dgm:prSet/>
      <dgm:spPr/>
      <dgm:t>
        <a:bodyPr/>
        <a:lstStyle/>
        <a:p>
          <a:endParaRPr lang="en-US"/>
        </a:p>
      </dgm:t>
    </dgm:pt>
    <dgm:pt modelId="{CF967F6D-4E4D-4045-853E-DFCBDB1806AE}" type="sibTrans" cxnId="{D5709A81-7948-40C1-955E-4977B77F3EEF}">
      <dgm:prSet/>
      <dgm:spPr/>
      <dgm:t>
        <a:bodyPr/>
        <a:lstStyle/>
        <a:p>
          <a:endParaRPr lang="en-US"/>
        </a:p>
      </dgm:t>
    </dgm:pt>
    <dgm:pt modelId="{C19837D6-85F3-4F50-8CE1-DFA7081CFE23}" type="pres">
      <dgm:prSet presAssocID="{10E0E261-EBC7-4027-BB39-9D209F57DA6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7EF3960-190F-4F39-ADFF-D9659CFB8474}" type="pres">
      <dgm:prSet presAssocID="{15F80503-6E69-4ABD-8A46-A4F77EFE0A6A}" presName="boxAndChildren" presStyleCnt="0"/>
      <dgm:spPr/>
    </dgm:pt>
    <dgm:pt modelId="{502C1471-57B2-4D26-965C-F223FF55D042}" type="pres">
      <dgm:prSet presAssocID="{15F80503-6E69-4ABD-8A46-A4F77EFE0A6A}" presName="parentTextBox" presStyleLbl="node1" presStyleIdx="0" presStyleCnt="6"/>
      <dgm:spPr/>
      <dgm:t>
        <a:bodyPr/>
        <a:lstStyle/>
        <a:p>
          <a:endParaRPr lang="en-US"/>
        </a:p>
      </dgm:t>
    </dgm:pt>
    <dgm:pt modelId="{3172D22F-B9FE-4C2B-8386-596813A2AD08}" type="pres">
      <dgm:prSet presAssocID="{15F80503-6E69-4ABD-8A46-A4F77EFE0A6A}" presName="entireBox" presStyleLbl="node1" presStyleIdx="0" presStyleCnt="6"/>
      <dgm:spPr/>
      <dgm:t>
        <a:bodyPr/>
        <a:lstStyle/>
        <a:p>
          <a:endParaRPr lang="en-US"/>
        </a:p>
      </dgm:t>
    </dgm:pt>
    <dgm:pt modelId="{DD152B23-8123-4CE3-A94D-66AD4E8F1D4A}" type="pres">
      <dgm:prSet presAssocID="{15F80503-6E69-4ABD-8A46-A4F77EFE0A6A}" presName="descendantBox" presStyleCnt="0"/>
      <dgm:spPr/>
    </dgm:pt>
    <dgm:pt modelId="{9AF9E7AA-498E-4572-A3A4-BDE0796D160F}" type="pres">
      <dgm:prSet presAssocID="{FAED7B68-9D68-4BD1-BB96-212C1B458E00}" presName="childTextBox" presStyleLbl="fgAccFollow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70381A-54EA-491B-84ED-F3BBF11974E8}" type="pres">
      <dgm:prSet presAssocID="{DA55357A-480B-4E7C-98CF-094C4B21D5D5}" presName="childTextBox" presStyleLbl="fgAccFollow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5F6960-7419-46C6-BB27-63208300C8E2}" type="pres">
      <dgm:prSet presAssocID="{9816C993-B14E-4B23-9CE0-CBFBD7F102B5}" presName="sp" presStyleCnt="0"/>
      <dgm:spPr/>
    </dgm:pt>
    <dgm:pt modelId="{463D017C-7305-4580-B6FC-0CF8805E5EF2}" type="pres">
      <dgm:prSet presAssocID="{416EACF0-ABE0-4FF3-B94F-31F553489261}" presName="arrowAndChildren" presStyleCnt="0"/>
      <dgm:spPr/>
    </dgm:pt>
    <dgm:pt modelId="{F8465453-24C3-4A82-BE7E-2E1EC55D71DB}" type="pres">
      <dgm:prSet presAssocID="{416EACF0-ABE0-4FF3-B94F-31F553489261}" presName="parentTextArrow" presStyleLbl="node1" presStyleIdx="0" presStyleCnt="6"/>
      <dgm:spPr/>
      <dgm:t>
        <a:bodyPr/>
        <a:lstStyle/>
        <a:p>
          <a:endParaRPr lang="en-US"/>
        </a:p>
      </dgm:t>
    </dgm:pt>
    <dgm:pt modelId="{D6A48C66-8212-4FEA-93AD-8010A8ACCB98}" type="pres">
      <dgm:prSet presAssocID="{416EACF0-ABE0-4FF3-B94F-31F553489261}" presName="arrow" presStyleLbl="node1" presStyleIdx="1" presStyleCnt="6"/>
      <dgm:spPr/>
      <dgm:t>
        <a:bodyPr/>
        <a:lstStyle/>
        <a:p>
          <a:endParaRPr lang="en-US"/>
        </a:p>
      </dgm:t>
    </dgm:pt>
    <dgm:pt modelId="{E11BD183-6652-4062-BD32-7A7CD2BBFFB0}" type="pres">
      <dgm:prSet presAssocID="{416EACF0-ABE0-4FF3-B94F-31F553489261}" presName="descendantArrow" presStyleCnt="0"/>
      <dgm:spPr/>
    </dgm:pt>
    <dgm:pt modelId="{DAF57B2B-7884-481A-8761-BED03939D681}" type="pres">
      <dgm:prSet presAssocID="{9D9704DD-5AAB-4A38-BA81-06142AAE75A5}" presName="childTextArrow" presStyleLbl="fgAccFollow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D74DFB-F8D5-44EE-A08F-12D25934440C}" type="pres">
      <dgm:prSet presAssocID="{9288FFC9-4689-419C-A3C5-A775F8DEECFE}" presName="sp" presStyleCnt="0"/>
      <dgm:spPr/>
    </dgm:pt>
    <dgm:pt modelId="{1FE9C72C-18E7-40D8-81D2-72C3BFAE3EEA}" type="pres">
      <dgm:prSet presAssocID="{9DF26328-3827-42C0-AB56-800CD3F5DB76}" presName="arrowAndChildren" presStyleCnt="0"/>
      <dgm:spPr/>
    </dgm:pt>
    <dgm:pt modelId="{A26A2CAE-7808-4C61-882B-9E23AADED789}" type="pres">
      <dgm:prSet presAssocID="{9DF26328-3827-42C0-AB56-800CD3F5DB76}" presName="parentTextArrow" presStyleLbl="node1" presStyleIdx="1" presStyleCnt="6"/>
      <dgm:spPr/>
      <dgm:t>
        <a:bodyPr/>
        <a:lstStyle/>
        <a:p>
          <a:endParaRPr lang="en-US"/>
        </a:p>
      </dgm:t>
    </dgm:pt>
    <dgm:pt modelId="{AA211170-78E7-428C-9BEA-832724EE10FC}" type="pres">
      <dgm:prSet presAssocID="{9DF26328-3827-42C0-AB56-800CD3F5DB76}" presName="arrow" presStyleLbl="node1" presStyleIdx="2" presStyleCnt="6" custLinFactNeighborX="-1756" custLinFactNeighborY="-4551"/>
      <dgm:spPr/>
      <dgm:t>
        <a:bodyPr/>
        <a:lstStyle/>
        <a:p>
          <a:endParaRPr lang="en-US"/>
        </a:p>
      </dgm:t>
    </dgm:pt>
    <dgm:pt modelId="{FB016968-6C88-45B3-B695-819B5B924F65}" type="pres">
      <dgm:prSet presAssocID="{9DF26328-3827-42C0-AB56-800CD3F5DB76}" presName="descendantArrow" presStyleCnt="0"/>
      <dgm:spPr/>
    </dgm:pt>
    <dgm:pt modelId="{A5796A4D-9F72-46C8-A865-F19E1CA29942}" type="pres">
      <dgm:prSet presAssocID="{1028798D-DB5A-4600-81B4-F3341155D333}" presName="childTextArrow" presStyleLbl="fgAccFollow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5A0F96-8D18-4F60-9178-01B01DE3AC31}" type="pres">
      <dgm:prSet presAssocID="{3C16C80B-8B19-440C-BDC7-2192AEC99721}" presName="sp" presStyleCnt="0"/>
      <dgm:spPr/>
    </dgm:pt>
    <dgm:pt modelId="{B079DF68-E3C4-4072-BC88-648BE2AE0B33}" type="pres">
      <dgm:prSet presAssocID="{CC95F4A5-1052-44AF-8287-813CA84C8B23}" presName="arrowAndChildren" presStyleCnt="0"/>
      <dgm:spPr/>
    </dgm:pt>
    <dgm:pt modelId="{B9104ECF-3A27-40F0-A1FE-AF73E96BED85}" type="pres">
      <dgm:prSet presAssocID="{CC95F4A5-1052-44AF-8287-813CA84C8B23}" presName="parentTextArrow" presStyleLbl="node1" presStyleIdx="2" presStyleCnt="6"/>
      <dgm:spPr/>
      <dgm:t>
        <a:bodyPr/>
        <a:lstStyle/>
        <a:p>
          <a:endParaRPr lang="en-US"/>
        </a:p>
      </dgm:t>
    </dgm:pt>
    <dgm:pt modelId="{57A97F76-3B85-4F95-9EB6-27510BC36B08}" type="pres">
      <dgm:prSet presAssocID="{CC95F4A5-1052-44AF-8287-813CA84C8B23}" presName="arrow" presStyleLbl="node1" presStyleIdx="3" presStyleCnt="6"/>
      <dgm:spPr/>
      <dgm:t>
        <a:bodyPr/>
        <a:lstStyle/>
        <a:p>
          <a:endParaRPr lang="en-US"/>
        </a:p>
      </dgm:t>
    </dgm:pt>
    <dgm:pt modelId="{41D21D31-6D32-44B4-91C3-A4F30248FBF0}" type="pres">
      <dgm:prSet presAssocID="{CC95F4A5-1052-44AF-8287-813CA84C8B23}" presName="descendantArrow" presStyleCnt="0"/>
      <dgm:spPr/>
    </dgm:pt>
    <dgm:pt modelId="{F9E087F9-22DD-4FB8-A47A-10C40F1DB4F4}" type="pres">
      <dgm:prSet presAssocID="{09A93F22-DB9D-4168-A3FA-58DCC77A9B61}" presName="childTextArrow" presStyleLbl="fgAccFollow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52CE13-260B-4493-A055-211FD199BE5F}" type="pres">
      <dgm:prSet presAssocID="{10A0C0CC-B37C-4C1A-A4ED-D1E8DC792002}" presName="sp" presStyleCnt="0"/>
      <dgm:spPr/>
    </dgm:pt>
    <dgm:pt modelId="{3E6CF329-6151-4F4C-B7AA-E658FABE3C2A}" type="pres">
      <dgm:prSet presAssocID="{F8FA89BB-5B9C-4740-9714-0046B51F0A9A}" presName="arrowAndChildren" presStyleCnt="0"/>
      <dgm:spPr/>
    </dgm:pt>
    <dgm:pt modelId="{B89045C5-5E8F-4F34-BE48-EAF06636E3AC}" type="pres">
      <dgm:prSet presAssocID="{F8FA89BB-5B9C-4740-9714-0046B51F0A9A}" presName="parentTextArrow" presStyleLbl="node1" presStyleIdx="3" presStyleCnt="6"/>
      <dgm:spPr/>
      <dgm:t>
        <a:bodyPr/>
        <a:lstStyle/>
        <a:p>
          <a:endParaRPr lang="en-US"/>
        </a:p>
      </dgm:t>
    </dgm:pt>
    <dgm:pt modelId="{E4B13658-E7D0-4040-9D78-738F0A45DD0B}" type="pres">
      <dgm:prSet presAssocID="{F8FA89BB-5B9C-4740-9714-0046B51F0A9A}" presName="arrow" presStyleLbl="node1" presStyleIdx="4" presStyleCnt="6"/>
      <dgm:spPr/>
      <dgm:t>
        <a:bodyPr/>
        <a:lstStyle/>
        <a:p>
          <a:endParaRPr lang="en-US"/>
        </a:p>
      </dgm:t>
    </dgm:pt>
    <dgm:pt modelId="{451A2936-BCB7-4ED5-BCCF-163E909BAD86}" type="pres">
      <dgm:prSet presAssocID="{F8FA89BB-5B9C-4740-9714-0046B51F0A9A}" presName="descendantArrow" presStyleCnt="0"/>
      <dgm:spPr/>
    </dgm:pt>
    <dgm:pt modelId="{AFEDE35C-E80A-4744-A2C7-79E15270F50F}" type="pres">
      <dgm:prSet presAssocID="{24544602-2E82-4A01-991B-BC016F2F8BAF}" presName="childTextArrow" presStyleLbl="fgAccFollow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A5A5BF-D057-48ED-BABA-F52422907934}" type="pres">
      <dgm:prSet presAssocID="{D12B110E-8694-4EC2-BBC4-4349312FE059}" presName="sp" presStyleCnt="0"/>
      <dgm:spPr/>
    </dgm:pt>
    <dgm:pt modelId="{F3D6C0ED-F731-45D4-8C45-0A7E163AB51D}" type="pres">
      <dgm:prSet presAssocID="{D2630E99-CBA7-4065-8FDF-F44BB8D34DBF}" presName="arrowAndChildren" presStyleCnt="0"/>
      <dgm:spPr/>
    </dgm:pt>
    <dgm:pt modelId="{978841DC-9BA2-4C32-BC9A-6F7E6A03B1BB}" type="pres">
      <dgm:prSet presAssocID="{D2630E99-CBA7-4065-8FDF-F44BB8D34DBF}" presName="parentTextArrow" presStyleLbl="node1" presStyleIdx="4" presStyleCnt="6"/>
      <dgm:spPr/>
      <dgm:t>
        <a:bodyPr/>
        <a:lstStyle/>
        <a:p>
          <a:endParaRPr lang="en-US"/>
        </a:p>
      </dgm:t>
    </dgm:pt>
    <dgm:pt modelId="{357BBD2C-D7F2-4EF1-970B-A3A0269079D5}" type="pres">
      <dgm:prSet presAssocID="{D2630E99-CBA7-4065-8FDF-F44BB8D34DBF}" presName="arrow" presStyleLbl="node1" presStyleIdx="5" presStyleCnt="6"/>
      <dgm:spPr/>
      <dgm:t>
        <a:bodyPr/>
        <a:lstStyle/>
        <a:p>
          <a:endParaRPr lang="en-US"/>
        </a:p>
      </dgm:t>
    </dgm:pt>
    <dgm:pt modelId="{46E76194-BC09-4AC4-A25A-2D12C9DFFF80}" type="pres">
      <dgm:prSet presAssocID="{D2630E99-CBA7-4065-8FDF-F44BB8D34DBF}" presName="descendantArrow" presStyleCnt="0"/>
      <dgm:spPr/>
    </dgm:pt>
    <dgm:pt modelId="{E1ACB216-E3D1-44DE-B08C-AAAF3DEF973F}" type="pres">
      <dgm:prSet presAssocID="{79C9272A-12CA-40D5-A155-E22FEFC415BA}" presName="childTextArrow" presStyleLbl="fgAccFollow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9A0826F-67FF-42E8-9525-19AB6F9CABE9}" type="presOf" srcId="{79C9272A-12CA-40D5-A155-E22FEFC415BA}" destId="{E1ACB216-E3D1-44DE-B08C-AAAF3DEF973F}" srcOrd="0" destOrd="0" presId="urn:microsoft.com/office/officeart/2005/8/layout/process4"/>
    <dgm:cxn modelId="{A56CFAA7-523F-4BA8-8FE7-B85A877B0EAC}" type="presOf" srcId="{FAED7B68-9D68-4BD1-BB96-212C1B458E00}" destId="{9AF9E7AA-498E-4572-A3A4-BDE0796D160F}" srcOrd="0" destOrd="0" presId="urn:microsoft.com/office/officeart/2005/8/layout/process4"/>
    <dgm:cxn modelId="{F32CFFB0-41CF-4009-BDC4-0674CC3C2855}" type="presOf" srcId="{15F80503-6E69-4ABD-8A46-A4F77EFE0A6A}" destId="{502C1471-57B2-4D26-965C-F223FF55D042}" srcOrd="0" destOrd="0" presId="urn:microsoft.com/office/officeart/2005/8/layout/process4"/>
    <dgm:cxn modelId="{292EF8A6-FE6B-435A-8A6F-537D6C2DB391}" srcId="{10E0E261-EBC7-4027-BB39-9D209F57DA6F}" destId="{F8FA89BB-5B9C-4740-9714-0046B51F0A9A}" srcOrd="1" destOrd="0" parTransId="{987E76FE-2A56-415B-92E4-814D2807E19A}" sibTransId="{10A0C0CC-B37C-4C1A-A4ED-D1E8DC792002}"/>
    <dgm:cxn modelId="{A2F72351-D90E-44AF-A52A-1B0CFABCE5F0}" srcId="{10E0E261-EBC7-4027-BB39-9D209F57DA6F}" destId="{416EACF0-ABE0-4FF3-B94F-31F553489261}" srcOrd="4" destOrd="0" parTransId="{B3500E5D-09B7-4D2D-AFEF-B25BB3119864}" sibTransId="{9816C993-B14E-4B23-9CE0-CBFBD7F102B5}"/>
    <dgm:cxn modelId="{A697A915-C746-4C9C-A0A8-7B3C22EA6F81}" type="presOf" srcId="{CC95F4A5-1052-44AF-8287-813CA84C8B23}" destId="{57A97F76-3B85-4F95-9EB6-27510BC36B08}" srcOrd="1" destOrd="0" presId="urn:microsoft.com/office/officeart/2005/8/layout/process4"/>
    <dgm:cxn modelId="{11552310-3875-4173-A750-789AE3E92329}" srcId="{9DF26328-3827-42C0-AB56-800CD3F5DB76}" destId="{1028798D-DB5A-4600-81B4-F3341155D333}" srcOrd="0" destOrd="0" parTransId="{F426E7C0-057A-4B17-8559-A2EB729C266B}" sibTransId="{28AB9758-041F-46EE-B6EB-E6B90172BB35}"/>
    <dgm:cxn modelId="{D4A44DE0-2880-4861-B1EC-99664FCE5141}" srcId="{416EACF0-ABE0-4FF3-B94F-31F553489261}" destId="{9D9704DD-5AAB-4A38-BA81-06142AAE75A5}" srcOrd="0" destOrd="0" parTransId="{F598AB4C-FA4F-40AD-9C0F-1D4FD896E351}" sibTransId="{09E96E63-BB89-431A-8B35-12407F8B6F82}"/>
    <dgm:cxn modelId="{9809527E-CC5C-4D43-AFF1-3D5B55D945E9}" type="presOf" srcId="{416EACF0-ABE0-4FF3-B94F-31F553489261}" destId="{F8465453-24C3-4A82-BE7E-2E1EC55D71DB}" srcOrd="0" destOrd="0" presId="urn:microsoft.com/office/officeart/2005/8/layout/process4"/>
    <dgm:cxn modelId="{A0D4521A-413C-4869-AC37-685F2DE98A48}" type="presOf" srcId="{D2630E99-CBA7-4065-8FDF-F44BB8D34DBF}" destId="{978841DC-9BA2-4C32-BC9A-6F7E6A03B1BB}" srcOrd="0" destOrd="0" presId="urn:microsoft.com/office/officeart/2005/8/layout/process4"/>
    <dgm:cxn modelId="{254FBAB4-CC2C-482C-8A58-7ADB3E43FCA5}" srcId="{CC95F4A5-1052-44AF-8287-813CA84C8B23}" destId="{09A93F22-DB9D-4168-A3FA-58DCC77A9B61}" srcOrd="0" destOrd="0" parTransId="{53A2CE08-91F3-4539-9FC6-7EB422C375E3}" sibTransId="{6FBA870E-21E3-4D58-8FA4-89FE8ADACE26}"/>
    <dgm:cxn modelId="{89F37F05-966E-450F-9FA3-D9CF06F470EC}" type="presOf" srcId="{24544602-2E82-4A01-991B-BC016F2F8BAF}" destId="{AFEDE35C-E80A-4744-A2C7-79E15270F50F}" srcOrd="0" destOrd="0" presId="urn:microsoft.com/office/officeart/2005/8/layout/process4"/>
    <dgm:cxn modelId="{B8CBD744-1958-4B8A-8386-6208B1F73597}" type="presOf" srcId="{10E0E261-EBC7-4027-BB39-9D209F57DA6F}" destId="{C19837D6-85F3-4F50-8CE1-DFA7081CFE23}" srcOrd="0" destOrd="0" presId="urn:microsoft.com/office/officeart/2005/8/layout/process4"/>
    <dgm:cxn modelId="{16BC6233-C96C-4C26-8DB4-1A47362E61D9}" srcId="{D2630E99-CBA7-4065-8FDF-F44BB8D34DBF}" destId="{79C9272A-12CA-40D5-A155-E22FEFC415BA}" srcOrd="0" destOrd="0" parTransId="{47738A00-9FB2-4487-BC4E-13957168BFF9}" sibTransId="{3DC22CB7-472D-4C0F-BA18-0AAEEB58999B}"/>
    <dgm:cxn modelId="{63F91596-9E87-4AC4-BF65-D6FF8EAC38C7}" type="presOf" srcId="{1028798D-DB5A-4600-81B4-F3341155D333}" destId="{A5796A4D-9F72-46C8-A865-F19E1CA29942}" srcOrd="0" destOrd="0" presId="urn:microsoft.com/office/officeart/2005/8/layout/process4"/>
    <dgm:cxn modelId="{88E5526C-B1CF-4471-BF3B-EB8625420CF4}" type="presOf" srcId="{9D9704DD-5AAB-4A38-BA81-06142AAE75A5}" destId="{DAF57B2B-7884-481A-8761-BED03939D681}" srcOrd="0" destOrd="0" presId="urn:microsoft.com/office/officeart/2005/8/layout/process4"/>
    <dgm:cxn modelId="{1BA9CBA0-D67A-4133-82CF-795307078CEC}" type="presOf" srcId="{CC95F4A5-1052-44AF-8287-813CA84C8B23}" destId="{B9104ECF-3A27-40F0-A1FE-AF73E96BED85}" srcOrd="0" destOrd="0" presId="urn:microsoft.com/office/officeart/2005/8/layout/process4"/>
    <dgm:cxn modelId="{8E7327C4-A013-44BE-AAF4-6E7F26130209}" type="presOf" srcId="{15F80503-6E69-4ABD-8A46-A4F77EFE0A6A}" destId="{3172D22F-B9FE-4C2B-8386-596813A2AD08}" srcOrd="1" destOrd="0" presId="urn:microsoft.com/office/officeart/2005/8/layout/process4"/>
    <dgm:cxn modelId="{6A788EBE-1A32-4A16-9A40-F95D6E5101F5}" srcId="{10E0E261-EBC7-4027-BB39-9D209F57DA6F}" destId="{15F80503-6E69-4ABD-8A46-A4F77EFE0A6A}" srcOrd="5" destOrd="0" parTransId="{3AE1B905-DAA7-46F9-90CE-6208CA056697}" sibTransId="{CEA2CF3A-E6BD-4847-B388-3E741CE7E614}"/>
    <dgm:cxn modelId="{8BB6ACFE-9A78-4524-BD7A-974D134B3A34}" type="presOf" srcId="{9DF26328-3827-42C0-AB56-800CD3F5DB76}" destId="{AA211170-78E7-428C-9BEA-832724EE10FC}" srcOrd="1" destOrd="0" presId="urn:microsoft.com/office/officeart/2005/8/layout/process4"/>
    <dgm:cxn modelId="{D63E15E8-ACD5-4F8F-B846-A01B683F9FC8}" srcId="{15F80503-6E69-4ABD-8A46-A4F77EFE0A6A}" destId="{FAED7B68-9D68-4BD1-BB96-212C1B458E00}" srcOrd="0" destOrd="0" parTransId="{82B38873-F19C-4FE3-AD08-062A197B1BDB}" sibTransId="{0EC8BE08-E427-4C86-971A-FCC3D530B364}"/>
    <dgm:cxn modelId="{6F2E1BD2-9B7B-49E9-B60D-2DB327295B92}" srcId="{10E0E261-EBC7-4027-BB39-9D209F57DA6F}" destId="{9DF26328-3827-42C0-AB56-800CD3F5DB76}" srcOrd="3" destOrd="0" parTransId="{31C45A46-636E-4961-81BA-E0B4F40E0AA7}" sibTransId="{9288FFC9-4689-419C-A3C5-A775F8DEECFE}"/>
    <dgm:cxn modelId="{A0855124-DB8E-4EBE-A48B-438A99D1222A}" type="presOf" srcId="{D2630E99-CBA7-4065-8FDF-F44BB8D34DBF}" destId="{357BBD2C-D7F2-4EF1-970B-A3A0269079D5}" srcOrd="1" destOrd="0" presId="urn:microsoft.com/office/officeart/2005/8/layout/process4"/>
    <dgm:cxn modelId="{29BA3178-8AB3-4A63-AAEC-1163976E94AA}" type="presOf" srcId="{9DF26328-3827-42C0-AB56-800CD3F5DB76}" destId="{A26A2CAE-7808-4C61-882B-9E23AADED789}" srcOrd="0" destOrd="0" presId="urn:microsoft.com/office/officeart/2005/8/layout/process4"/>
    <dgm:cxn modelId="{3D57171C-ABCA-437C-A531-BB71EA750DBB}" srcId="{F8FA89BB-5B9C-4740-9714-0046B51F0A9A}" destId="{24544602-2E82-4A01-991B-BC016F2F8BAF}" srcOrd="0" destOrd="0" parTransId="{87E8D435-B67C-4A15-B00F-A0EEB3C0E0EB}" sibTransId="{057ACFF9-950F-448F-80AF-D9AD75498B7D}"/>
    <dgm:cxn modelId="{5F5343D2-A8C7-4884-8F98-7454058B7B41}" type="presOf" srcId="{F8FA89BB-5B9C-4740-9714-0046B51F0A9A}" destId="{B89045C5-5E8F-4F34-BE48-EAF06636E3AC}" srcOrd="0" destOrd="0" presId="urn:microsoft.com/office/officeart/2005/8/layout/process4"/>
    <dgm:cxn modelId="{D5709A81-7948-40C1-955E-4977B77F3EEF}" srcId="{15F80503-6E69-4ABD-8A46-A4F77EFE0A6A}" destId="{DA55357A-480B-4E7C-98CF-094C4B21D5D5}" srcOrd="1" destOrd="0" parTransId="{821DFD2F-F17C-4DCB-8081-0BA22EF7BE88}" sibTransId="{CF967F6D-4E4D-4045-853E-DFCBDB1806AE}"/>
    <dgm:cxn modelId="{C64F68DB-AD7E-4EEB-B262-B45F5FF80386}" type="presOf" srcId="{09A93F22-DB9D-4168-A3FA-58DCC77A9B61}" destId="{F9E087F9-22DD-4FB8-A47A-10C40F1DB4F4}" srcOrd="0" destOrd="0" presId="urn:microsoft.com/office/officeart/2005/8/layout/process4"/>
    <dgm:cxn modelId="{6E3AE31C-B412-4122-9FE2-42BA27447970}" type="presOf" srcId="{DA55357A-480B-4E7C-98CF-094C4B21D5D5}" destId="{B170381A-54EA-491B-84ED-F3BBF11974E8}" srcOrd="0" destOrd="0" presId="urn:microsoft.com/office/officeart/2005/8/layout/process4"/>
    <dgm:cxn modelId="{D890357E-5896-4C06-81A2-126A6AA85534}" type="presOf" srcId="{416EACF0-ABE0-4FF3-B94F-31F553489261}" destId="{D6A48C66-8212-4FEA-93AD-8010A8ACCB98}" srcOrd="1" destOrd="0" presId="urn:microsoft.com/office/officeart/2005/8/layout/process4"/>
    <dgm:cxn modelId="{E3017C1F-5B99-40BA-8825-B4646F3B121D}" srcId="{10E0E261-EBC7-4027-BB39-9D209F57DA6F}" destId="{CC95F4A5-1052-44AF-8287-813CA84C8B23}" srcOrd="2" destOrd="0" parTransId="{46FB21B0-811A-421D-82D5-E2854D43D8C1}" sibTransId="{3C16C80B-8B19-440C-BDC7-2192AEC99721}"/>
    <dgm:cxn modelId="{78FC40CC-A9ED-4E14-8F13-C481B7C94CC9}" srcId="{10E0E261-EBC7-4027-BB39-9D209F57DA6F}" destId="{D2630E99-CBA7-4065-8FDF-F44BB8D34DBF}" srcOrd="0" destOrd="0" parTransId="{DB55AAC8-EE8F-410E-B096-4EBED9B242A9}" sibTransId="{D12B110E-8694-4EC2-BBC4-4349312FE059}"/>
    <dgm:cxn modelId="{371F4226-EADF-4835-A050-5BAB3CBDFAC1}" type="presOf" srcId="{F8FA89BB-5B9C-4740-9714-0046B51F0A9A}" destId="{E4B13658-E7D0-4040-9D78-738F0A45DD0B}" srcOrd="1" destOrd="0" presId="urn:microsoft.com/office/officeart/2005/8/layout/process4"/>
    <dgm:cxn modelId="{B1CD7B2B-C244-40A8-BFC5-E7D2E954CC8A}" type="presParOf" srcId="{C19837D6-85F3-4F50-8CE1-DFA7081CFE23}" destId="{77EF3960-190F-4F39-ADFF-D9659CFB8474}" srcOrd="0" destOrd="0" presId="urn:microsoft.com/office/officeart/2005/8/layout/process4"/>
    <dgm:cxn modelId="{F0F70908-3347-4A41-86C2-59E5B42E0016}" type="presParOf" srcId="{77EF3960-190F-4F39-ADFF-D9659CFB8474}" destId="{502C1471-57B2-4D26-965C-F223FF55D042}" srcOrd="0" destOrd="0" presId="urn:microsoft.com/office/officeart/2005/8/layout/process4"/>
    <dgm:cxn modelId="{CBB74B36-6BF5-43FE-B0BF-F9357BFB1194}" type="presParOf" srcId="{77EF3960-190F-4F39-ADFF-D9659CFB8474}" destId="{3172D22F-B9FE-4C2B-8386-596813A2AD08}" srcOrd="1" destOrd="0" presId="urn:microsoft.com/office/officeart/2005/8/layout/process4"/>
    <dgm:cxn modelId="{AE4D5692-5433-4D90-84D8-5570C8F1871D}" type="presParOf" srcId="{77EF3960-190F-4F39-ADFF-D9659CFB8474}" destId="{DD152B23-8123-4CE3-A94D-66AD4E8F1D4A}" srcOrd="2" destOrd="0" presId="urn:microsoft.com/office/officeart/2005/8/layout/process4"/>
    <dgm:cxn modelId="{BE062C3B-2CAC-447E-BDD6-71401A7388BE}" type="presParOf" srcId="{DD152B23-8123-4CE3-A94D-66AD4E8F1D4A}" destId="{9AF9E7AA-498E-4572-A3A4-BDE0796D160F}" srcOrd="0" destOrd="0" presId="urn:microsoft.com/office/officeart/2005/8/layout/process4"/>
    <dgm:cxn modelId="{CF16CE17-23FA-46E1-96E5-A4E8E11C1E5D}" type="presParOf" srcId="{DD152B23-8123-4CE3-A94D-66AD4E8F1D4A}" destId="{B170381A-54EA-491B-84ED-F3BBF11974E8}" srcOrd="1" destOrd="0" presId="urn:microsoft.com/office/officeart/2005/8/layout/process4"/>
    <dgm:cxn modelId="{816119B3-F7EE-44A1-934E-1E4D414E6700}" type="presParOf" srcId="{C19837D6-85F3-4F50-8CE1-DFA7081CFE23}" destId="{035F6960-7419-46C6-BB27-63208300C8E2}" srcOrd="1" destOrd="0" presId="urn:microsoft.com/office/officeart/2005/8/layout/process4"/>
    <dgm:cxn modelId="{6456B19B-1BB5-4F2B-93D0-7EEAF9B99220}" type="presParOf" srcId="{C19837D6-85F3-4F50-8CE1-DFA7081CFE23}" destId="{463D017C-7305-4580-B6FC-0CF8805E5EF2}" srcOrd="2" destOrd="0" presId="urn:microsoft.com/office/officeart/2005/8/layout/process4"/>
    <dgm:cxn modelId="{2AE60778-16FE-4C59-B85C-D36238ABC142}" type="presParOf" srcId="{463D017C-7305-4580-B6FC-0CF8805E5EF2}" destId="{F8465453-24C3-4A82-BE7E-2E1EC55D71DB}" srcOrd="0" destOrd="0" presId="urn:microsoft.com/office/officeart/2005/8/layout/process4"/>
    <dgm:cxn modelId="{BD558F6A-216C-422B-80D7-353241BB1F6F}" type="presParOf" srcId="{463D017C-7305-4580-B6FC-0CF8805E5EF2}" destId="{D6A48C66-8212-4FEA-93AD-8010A8ACCB98}" srcOrd="1" destOrd="0" presId="urn:microsoft.com/office/officeart/2005/8/layout/process4"/>
    <dgm:cxn modelId="{0313E6B0-B6DD-4886-B556-8EC0775C1F72}" type="presParOf" srcId="{463D017C-7305-4580-B6FC-0CF8805E5EF2}" destId="{E11BD183-6652-4062-BD32-7A7CD2BBFFB0}" srcOrd="2" destOrd="0" presId="urn:microsoft.com/office/officeart/2005/8/layout/process4"/>
    <dgm:cxn modelId="{75759250-E952-4406-A4D1-FB4538E225D2}" type="presParOf" srcId="{E11BD183-6652-4062-BD32-7A7CD2BBFFB0}" destId="{DAF57B2B-7884-481A-8761-BED03939D681}" srcOrd="0" destOrd="0" presId="urn:microsoft.com/office/officeart/2005/8/layout/process4"/>
    <dgm:cxn modelId="{DB041C9B-017F-4533-83AB-67BFE17ED5F4}" type="presParOf" srcId="{C19837D6-85F3-4F50-8CE1-DFA7081CFE23}" destId="{E2D74DFB-F8D5-44EE-A08F-12D25934440C}" srcOrd="3" destOrd="0" presId="urn:microsoft.com/office/officeart/2005/8/layout/process4"/>
    <dgm:cxn modelId="{99BA42ED-2D20-44ED-8447-B6EC353C09DA}" type="presParOf" srcId="{C19837D6-85F3-4F50-8CE1-DFA7081CFE23}" destId="{1FE9C72C-18E7-40D8-81D2-72C3BFAE3EEA}" srcOrd="4" destOrd="0" presId="urn:microsoft.com/office/officeart/2005/8/layout/process4"/>
    <dgm:cxn modelId="{8F86EDDF-181D-4D27-8E01-A98A4DAF99BB}" type="presParOf" srcId="{1FE9C72C-18E7-40D8-81D2-72C3BFAE3EEA}" destId="{A26A2CAE-7808-4C61-882B-9E23AADED789}" srcOrd="0" destOrd="0" presId="urn:microsoft.com/office/officeart/2005/8/layout/process4"/>
    <dgm:cxn modelId="{E61D3DFB-107F-40C7-8092-967EE4754078}" type="presParOf" srcId="{1FE9C72C-18E7-40D8-81D2-72C3BFAE3EEA}" destId="{AA211170-78E7-428C-9BEA-832724EE10FC}" srcOrd="1" destOrd="0" presId="urn:microsoft.com/office/officeart/2005/8/layout/process4"/>
    <dgm:cxn modelId="{81C1A4A1-5DFF-4AC3-BD67-10593002E530}" type="presParOf" srcId="{1FE9C72C-18E7-40D8-81D2-72C3BFAE3EEA}" destId="{FB016968-6C88-45B3-B695-819B5B924F65}" srcOrd="2" destOrd="0" presId="urn:microsoft.com/office/officeart/2005/8/layout/process4"/>
    <dgm:cxn modelId="{4EFCDEE6-6A03-4488-B2EF-5EB2F63DF364}" type="presParOf" srcId="{FB016968-6C88-45B3-B695-819B5B924F65}" destId="{A5796A4D-9F72-46C8-A865-F19E1CA29942}" srcOrd="0" destOrd="0" presId="urn:microsoft.com/office/officeart/2005/8/layout/process4"/>
    <dgm:cxn modelId="{EE887252-7700-4EF9-9042-194D3D326D74}" type="presParOf" srcId="{C19837D6-85F3-4F50-8CE1-DFA7081CFE23}" destId="{385A0F96-8D18-4F60-9178-01B01DE3AC31}" srcOrd="5" destOrd="0" presId="urn:microsoft.com/office/officeart/2005/8/layout/process4"/>
    <dgm:cxn modelId="{32ADFB2B-85A8-47A3-9381-283F4489F691}" type="presParOf" srcId="{C19837D6-85F3-4F50-8CE1-DFA7081CFE23}" destId="{B079DF68-E3C4-4072-BC88-648BE2AE0B33}" srcOrd="6" destOrd="0" presId="urn:microsoft.com/office/officeart/2005/8/layout/process4"/>
    <dgm:cxn modelId="{1DE88FD9-9009-4A69-9980-B5163A2C54EB}" type="presParOf" srcId="{B079DF68-E3C4-4072-BC88-648BE2AE0B33}" destId="{B9104ECF-3A27-40F0-A1FE-AF73E96BED85}" srcOrd="0" destOrd="0" presId="urn:microsoft.com/office/officeart/2005/8/layout/process4"/>
    <dgm:cxn modelId="{37C2D4E1-0D36-4825-BDFF-196BB8EEE284}" type="presParOf" srcId="{B079DF68-E3C4-4072-BC88-648BE2AE0B33}" destId="{57A97F76-3B85-4F95-9EB6-27510BC36B08}" srcOrd="1" destOrd="0" presId="urn:microsoft.com/office/officeart/2005/8/layout/process4"/>
    <dgm:cxn modelId="{39E5D742-D65F-4C5D-9AE0-5E59DA1C067E}" type="presParOf" srcId="{B079DF68-E3C4-4072-BC88-648BE2AE0B33}" destId="{41D21D31-6D32-44B4-91C3-A4F30248FBF0}" srcOrd="2" destOrd="0" presId="urn:microsoft.com/office/officeart/2005/8/layout/process4"/>
    <dgm:cxn modelId="{42101158-0B0D-4968-B8E5-484FE208905F}" type="presParOf" srcId="{41D21D31-6D32-44B4-91C3-A4F30248FBF0}" destId="{F9E087F9-22DD-4FB8-A47A-10C40F1DB4F4}" srcOrd="0" destOrd="0" presId="urn:microsoft.com/office/officeart/2005/8/layout/process4"/>
    <dgm:cxn modelId="{27EE3D85-E031-4A7C-8532-D519AC2DF58B}" type="presParOf" srcId="{C19837D6-85F3-4F50-8CE1-DFA7081CFE23}" destId="{F152CE13-260B-4493-A055-211FD199BE5F}" srcOrd="7" destOrd="0" presId="urn:microsoft.com/office/officeart/2005/8/layout/process4"/>
    <dgm:cxn modelId="{B648C9B2-ED90-4613-9BC7-ECD3AC9CC2AA}" type="presParOf" srcId="{C19837D6-85F3-4F50-8CE1-DFA7081CFE23}" destId="{3E6CF329-6151-4F4C-B7AA-E658FABE3C2A}" srcOrd="8" destOrd="0" presId="urn:microsoft.com/office/officeart/2005/8/layout/process4"/>
    <dgm:cxn modelId="{0758245D-4CD7-4E06-A2CA-5FC08A1234FF}" type="presParOf" srcId="{3E6CF329-6151-4F4C-B7AA-E658FABE3C2A}" destId="{B89045C5-5E8F-4F34-BE48-EAF06636E3AC}" srcOrd="0" destOrd="0" presId="urn:microsoft.com/office/officeart/2005/8/layout/process4"/>
    <dgm:cxn modelId="{9140A7A3-E9C6-4045-B5C3-B1EA323F73CF}" type="presParOf" srcId="{3E6CF329-6151-4F4C-B7AA-E658FABE3C2A}" destId="{E4B13658-E7D0-4040-9D78-738F0A45DD0B}" srcOrd="1" destOrd="0" presId="urn:microsoft.com/office/officeart/2005/8/layout/process4"/>
    <dgm:cxn modelId="{3C443438-A8C2-4069-AC5C-AE18E188EB8E}" type="presParOf" srcId="{3E6CF329-6151-4F4C-B7AA-E658FABE3C2A}" destId="{451A2936-BCB7-4ED5-BCCF-163E909BAD86}" srcOrd="2" destOrd="0" presId="urn:microsoft.com/office/officeart/2005/8/layout/process4"/>
    <dgm:cxn modelId="{35C3B26B-63F8-4C64-A84E-939D6D171D31}" type="presParOf" srcId="{451A2936-BCB7-4ED5-BCCF-163E909BAD86}" destId="{AFEDE35C-E80A-4744-A2C7-79E15270F50F}" srcOrd="0" destOrd="0" presId="urn:microsoft.com/office/officeart/2005/8/layout/process4"/>
    <dgm:cxn modelId="{6BBA0946-63D1-48B5-B901-A8C8590878C4}" type="presParOf" srcId="{C19837D6-85F3-4F50-8CE1-DFA7081CFE23}" destId="{66A5A5BF-D057-48ED-BABA-F52422907934}" srcOrd="9" destOrd="0" presId="urn:microsoft.com/office/officeart/2005/8/layout/process4"/>
    <dgm:cxn modelId="{C6A61D5A-9E2A-4412-AAE9-C90D4BF984D5}" type="presParOf" srcId="{C19837D6-85F3-4F50-8CE1-DFA7081CFE23}" destId="{F3D6C0ED-F731-45D4-8C45-0A7E163AB51D}" srcOrd="10" destOrd="0" presId="urn:microsoft.com/office/officeart/2005/8/layout/process4"/>
    <dgm:cxn modelId="{C1FDDE1E-86C8-4797-AE26-E0B8C976C7D5}" type="presParOf" srcId="{F3D6C0ED-F731-45D4-8C45-0A7E163AB51D}" destId="{978841DC-9BA2-4C32-BC9A-6F7E6A03B1BB}" srcOrd="0" destOrd="0" presId="urn:microsoft.com/office/officeart/2005/8/layout/process4"/>
    <dgm:cxn modelId="{E284B4D3-555B-4447-8D9E-D8ACEF177669}" type="presParOf" srcId="{F3D6C0ED-F731-45D4-8C45-0A7E163AB51D}" destId="{357BBD2C-D7F2-4EF1-970B-A3A0269079D5}" srcOrd="1" destOrd="0" presId="urn:microsoft.com/office/officeart/2005/8/layout/process4"/>
    <dgm:cxn modelId="{1D956B14-1A1B-410C-A794-E430C228EDD4}" type="presParOf" srcId="{F3D6C0ED-F731-45D4-8C45-0A7E163AB51D}" destId="{46E76194-BC09-4AC4-A25A-2D12C9DFFF80}" srcOrd="2" destOrd="0" presId="urn:microsoft.com/office/officeart/2005/8/layout/process4"/>
    <dgm:cxn modelId="{D649F366-A0FA-47FC-8CB9-1CD6DB28A5FD}" type="presParOf" srcId="{46E76194-BC09-4AC4-A25A-2D12C9DFFF80}" destId="{E1ACB216-E3D1-44DE-B08C-AAAF3DEF973F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0E0E261-EBC7-4027-BB39-9D209F57DA6F}" type="doc">
      <dgm:prSet loTypeId="urn:microsoft.com/office/officeart/2005/8/layout/hProcess4" loCatId="process" qsTypeId="urn:microsoft.com/office/officeart/2005/8/quickstyle/3d1" qsCatId="3D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D2630E99-CBA7-4065-8FDF-F44BB8D34DBF}">
      <dgm:prSet phldrT="[Text]"/>
      <dgm:spPr/>
      <dgm:t>
        <a:bodyPr/>
        <a:lstStyle/>
        <a:p>
          <a:r>
            <a:rPr lang="en-US" dirty="0" smtClean="0"/>
            <a:t>Pre-Facto Post-Facto</a:t>
          </a:r>
          <a:endParaRPr lang="en-US" dirty="0"/>
        </a:p>
      </dgm:t>
    </dgm:pt>
    <dgm:pt modelId="{DB55AAC8-EE8F-410E-B096-4EBED9B242A9}" type="parTrans" cxnId="{78FC40CC-A9ED-4E14-8F13-C481B7C94CC9}">
      <dgm:prSet/>
      <dgm:spPr/>
      <dgm:t>
        <a:bodyPr/>
        <a:lstStyle/>
        <a:p>
          <a:endParaRPr lang="en-US"/>
        </a:p>
      </dgm:t>
    </dgm:pt>
    <dgm:pt modelId="{D12B110E-8694-4EC2-BBC4-4349312FE059}" type="sibTrans" cxnId="{78FC40CC-A9ED-4E14-8F13-C481B7C94CC9}">
      <dgm:prSet/>
      <dgm:spPr/>
      <dgm:t>
        <a:bodyPr/>
        <a:lstStyle/>
        <a:p>
          <a:endParaRPr lang="en-US"/>
        </a:p>
      </dgm:t>
    </dgm:pt>
    <dgm:pt modelId="{79C9272A-12CA-40D5-A155-E22FEFC415BA}">
      <dgm:prSet phldrT="[Text]"/>
      <dgm:spPr/>
      <dgm:t>
        <a:bodyPr/>
        <a:lstStyle/>
        <a:p>
          <a:r>
            <a:rPr lang="en-US" dirty="0" smtClean="0"/>
            <a:t>Select Correct Features </a:t>
          </a:r>
          <a:endParaRPr lang="en-US" dirty="0"/>
        </a:p>
      </dgm:t>
    </dgm:pt>
    <dgm:pt modelId="{47738A00-9FB2-4487-BC4E-13957168BFF9}" type="parTrans" cxnId="{16BC6233-C96C-4C26-8DB4-1A47362E61D9}">
      <dgm:prSet/>
      <dgm:spPr/>
      <dgm:t>
        <a:bodyPr/>
        <a:lstStyle/>
        <a:p>
          <a:endParaRPr lang="en-US"/>
        </a:p>
      </dgm:t>
    </dgm:pt>
    <dgm:pt modelId="{3DC22CB7-472D-4C0F-BA18-0AAEEB58999B}" type="sibTrans" cxnId="{16BC6233-C96C-4C26-8DB4-1A47362E61D9}">
      <dgm:prSet/>
      <dgm:spPr/>
      <dgm:t>
        <a:bodyPr/>
        <a:lstStyle/>
        <a:p>
          <a:endParaRPr lang="en-US"/>
        </a:p>
      </dgm:t>
    </dgm:pt>
    <dgm:pt modelId="{F8FA89BB-5B9C-4740-9714-0046B51F0A9A}">
      <dgm:prSet phldrT="[Text]"/>
      <dgm:spPr/>
      <dgm:t>
        <a:bodyPr/>
        <a:lstStyle/>
        <a:p>
          <a:r>
            <a:rPr lang="en-US" dirty="0" smtClean="0"/>
            <a:t>Stratified Split</a:t>
          </a:r>
          <a:endParaRPr lang="en-US" dirty="0"/>
        </a:p>
      </dgm:t>
    </dgm:pt>
    <dgm:pt modelId="{987E76FE-2A56-415B-92E4-814D2807E19A}" type="parTrans" cxnId="{292EF8A6-FE6B-435A-8A6F-537D6C2DB391}">
      <dgm:prSet/>
      <dgm:spPr/>
      <dgm:t>
        <a:bodyPr/>
        <a:lstStyle/>
        <a:p>
          <a:endParaRPr lang="en-US"/>
        </a:p>
      </dgm:t>
    </dgm:pt>
    <dgm:pt modelId="{10A0C0CC-B37C-4C1A-A4ED-D1E8DC792002}" type="sibTrans" cxnId="{292EF8A6-FE6B-435A-8A6F-537D6C2DB391}">
      <dgm:prSet/>
      <dgm:spPr/>
      <dgm:t>
        <a:bodyPr/>
        <a:lstStyle/>
        <a:p>
          <a:endParaRPr lang="en-US"/>
        </a:p>
      </dgm:t>
    </dgm:pt>
    <dgm:pt modelId="{CC95F4A5-1052-44AF-8287-813CA84C8B23}">
      <dgm:prSet phldrT="[Text]"/>
      <dgm:spPr/>
      <dgm:t>
        <a:bodyPr/>
        <a:lstStyle/>
        <a:p>
          <a:r>
            <a:rPr lang="en-US" dirty="0" smtClean="0"/>
            <a:t>SMOTE</a:t>
          </a:r>
          <a:endParaRPr lang="en-US" dirty="0"/>
        </a:p>
      </dgm:t>
    </dgm:pt>
    <dgm:pt modelId="{46FB21B0-811A-421D-82D5-E2854D43D8C1}" type="parTrans" cxnId="{E3017C1F-5B99-40BA-8825-B4646F3B121D}">
      <dgm:prSet/>
      <dgm:spPr/>
      <dgm:t>
        <a:bodyPr/>
        <a:lstStyle/>
        <a:p>
          <a:endParaRPr lang="en-US"/>
        </a:p>
      </dgm:t>
    </dgm:pt>
    <dgm:pt modelId="{3C16C80B-8B19-440C-BDC7-2192AEC99721}" type="sibTrans" cxnId="{E3017C1F-5B99-40BA-8825-B4646F3B121D}">
      <dgm:prSet/>
      <dgm:spPr/>
      <dgm:t>
        <a:bodyPr/>
        <a:lstStyle/>
        <a:p>
          <a:endParaRPr lang="en-US"/>
        </a:p>
      </dgm:t>
    </dgm:pt>
    <dgm:pt modelId="{09A93F22-DB9D-4168-A3FA-58DCC77A9B61}">
      <dgm:prSet phldrT="[Text]"/>
      <dgm:spPr/>
      <dgm:t>
        <a:bodyPr/>
        <a:lstStyle/>
        <a:p>
          <a:r>
            <a:rPr lang="en-US" dirty="0" smtClean="0"/>
            <a:t>Address Imbalanced Data</a:t>
          </a:r>
          <a:endParaRPr lang="en-US" dirty="0"/>
        </a:p>
      </dgm:t>
    </dgm:pt>
    <dgm:pt modelId="{53A2CE08-91F3-4539-9FC6-7EB422C375E3}" type="parTrans" cxnId="{254FBAB4-CC2C-482C-8A58-7ADB3E43FCA5}">
      <dgm:prSet/>
      <dgm:spPr/>
      <dgm:t>
        <a:bodyPr/>
        <a:lstStyle/>
        <a:p>
          <a:endParaRPr lang="en-US"/>
        </a:p>
      </dgm:t>
    </dgm:pt>
    <dgm:pt modelId="{6FBA870E-21E3-4D58-8FA4-89FE8ADACE26}" type="sibTrans" cxnId="{254FBAB4-CC2C-482C-8A58-7ADB3E43FCA5}">
      <dgm:prSet/>
      <dgm:spPr/>
      <dgm:t>
        <a:bodyPr/>
        <a:lstStyle/>
        <a:p>
          <a:endParaRPr lang="en-US"/>
        </a:p>
      </dgm:t>
    </dgm:pt>
    <dgm:pt modelId="{9DF26328-3827-42C0-AB56-800CD3F5DB76}">
      <dgm:prSet phldrT="[Text]"/>
      <dgm:spPr/>
      <dgm:t>
        <a:bodyPr/>
        <a:lstStyle/>
        <a:p>
          <a:r>
            <a:rPr lang="en-US" dirty="0" smtClean="0"/>
            <a:t>Supervised Classification Model</a:t>
          </a:r>
          <a:endParaRPr lang="en-US" dirty="0"/>
        </a:p>
      </dgm:t>
    </dgm:pt>
    <dgm:pt modelId="{31C45A46-636E-4961-81BA-E0B4F40E0AA7}" type="parTrans" cxnId="{6F2E1BD2-9B7B-49E9-B60D-2DB327295B92}">
      <dgm:prSet/>
      <dgm:spPr/>
      <dgm:t>
        <a:bodyPr/>
        <a:lstStyle/>
        <a:p>
          <a:endParaRPr lang="en-US"/>
        </a:p>
      </dgm:t>
    </dgm:pt>
    <dgm:pt modelId="{9288FFC9-4689-419C-A3C5-A775F8DEECFE}" type="sibTrans" cxnId="{6F2E1BD2-9B7B-49E9-B60D-2DB327295B92}">
      <dgm:prSet/>
      <dgm:spPr/>
      <dgm:t>
        <a:bodyPr/>
        <a:lstStyle/>
        <a:p>
          <a:endParaRPr lang="en-US"/>
        </a:p>
      </dgm:t>
    </dgm:pt>
    <dgm:pt modelId="{416EACF0-ABE0-4FF3-B94F-31F553489261}">
      <dgm:prSet phldrT="[Text]"/>
      <dgm:spPr/>
      <dgm:t>
        <a:bodyPr/>
        <a:lstStyle/>
        <a:p>
          <a:r>
            <a:rPr lang="en-US" dirty="0" smtClean="0"/>
            <a:t>Hyperparameters Tuning</a:t>
          </a:r>
          <a:endParaRPr lang="en-US" dirty="0"/>
        </a:p>
      </dgm:t>
    </dgm:pt>
    <dgm:pt modelId="{B3500E5D-09B7-4D2D-AFEF-B25BB3119864}" type="parTrans" cxnId="{A2F72351-D90E-44AF-A52A-1B0CFABCE5F0}">
      <dgm:prSet/>
      <dgm:spPr/>
      <dgm:t>
        <a:bodyPr/>
        <a:lstStyle/>
        <a:p>
          <a:endParaRPr lang="en-US"/>
        </a:p>
      </dgm:t>
    </dgm:pt>
    <dgm:pt modelId="{9816C993-B14E-4B23-9CE0-CBFBD7F102B5}" type="sibTrans" cxnId="{A2F72351-D90E-44AF-A52A-1B0CFABCE5F0}">
      <dgm:prSet/>
      <dgm:spPr/>
      <dgm:t>
        <a:bodyPr/>
        <a:lstStyle/>
        <a:p>
          <a:endParaRPr lang="en-US"/>
        </a:p>
      </dgm:t>
    </dgm:pt>
    <dgm:pt modelId="{9D9704DD-5AAB-4A38-BA81-06142AAE75A5}">
      <dgm:prSet phldrT="[Text]"/>
      <dgm:spPr/>
      <dgm:t>
        <a:bodyPr/>
        <a:lstStyle/>
        <a:p>
          <a:r>
            <a:rPr lang="en-US" dirty="0" smtClean="0"/>
            <a:t>Evaluate Different Techniques</a:t>
          </a:r>
          <a:endParaRPr lang="en-US" dirty="0"/>
        </a:p>
      </dgm:t>
    </dgm:pt>
    <dgm:pt modelId="{F598AB4C-FA4F-40AD-9C0F-1D4FD896E351}" type="parTrans" cxnId="{D4A44DE0-2880-4861-B1EC-99664FCE5141}">
      <dgm:prSet/>
      <dgm:spPr/>
      <dgm:t>
        <a:bodyPr/>
        <a:lstStyle/>
        <a:p>
          <a:endParaRPr lang="en-US"/>
        </a:p>
      </dgm:t>
    </dgm:pt>
    <dgm:pt modelId="{09E96E63-BB89-431A-8B35-12407F8B6F82}" type="sibTrans" cxnId="{D4A44DE0-2880-4861-B1EC-99664FCE5141}">
      <dgm:prSet/>
      <dgm:spPr/>
      <dgm:t>
        <a:bodyPr/>
        <a:lstStyle/>
        <a:p>
          <a:endParaRPr lang="en-US"/>
        </a:p>
      </dgm:t>
    </dgm:pt>
    <dgm:pt modelId="{15F80503-6E69-4ABD-8A46-A4F77EFE0A6A}">
      <dgm:prSet phldrT="[Text]"/>
      <dgm:spPr/>
      <dgm:t>
        <a:bodyPr/>
        <a:lstStyle/>
        <a:p>
          <a:r>
            <a:rPr lang="en-US" dirty="0" smtClean="0"/>
            <a:t>Explore Alternative Approaches</a:t>
          </a:r>
          <a:endParaRPr lang="en-US" dirty="0"/>
        </a:p>
      </dgm:t>
    </dgm:pt>
    <dgm:pt modelId="{3AE1B905-DAA7-46F9-90CE-6208CA056697}" type="parTrans" cxnId="{6A788EBE-1A32-4A16-9A40-F95D6E5101F5}">
      <dgm:prSet/>
      <dgm:spPr/>
      <dgm:t>
        <a:bodyPr/>
        <a:lstStyle/>
        <a:p>
          <a:endParaRPr lang="en-US"/>
        </a:p>
      </dgm:t>
    </dgm:pt>
    <dgm:pt modelId="{CEA2CF3A-E6BD-4847-B388-3E741CE7E614}" type="sibTrans" cxnId="{6A788EBE-1A32-4A16-9A40-F95D6E5101F5}">
      <dgm:prSet/>
      <dgm:spPr/>
      <dgm:t>
        <a:bodyPr/>
        <a:lstStyle/>
        <a:p>
          <a:endParaRPr lang="en-US"/>
        </a:p>
      </dgm:t>
    </dgm:pt>
    <dgm:pt modelId="{FAED7B68-9D68-4BD1-BB96-212C1B458E00}">
      <dgm:prSet phldrT="[Text]"/>
      <dgm:spPr/>
      <dgm:t>
        <a:bodyPr/>
        <a:lstStyle/>
        <a:p>
          <a:r>
            <a:rPr lang="en-US" dirty="0" smtClean="0"/>
            <a:t>Anomaly Detections</a:t>
          </a:r>
          <a:endParaRPr lang="en-US" dirty="0"/>
        </a:p>
      </dgm:t>
    </dgm:pt>
    <dgm:pt modelId="{82B38873-F19C-4FE3-AD08-062A197B1BDB}" type="parTrans" cxnId="{D63E15E8-ACD5-4F8F-B846-A01B683F9FC8}">
      <dgm:prSet/>
      <dgm:spPr/>
      <dgm:t>
        <a:bodyPr/>
        <a:lstStyle/>
        <a:p>
          <a:endParaRPr lang="en-US"/>
        </a:p>
      </dgm:t>
    </dgm:pt>
    <dgm:pt modelId="{0EC8BE08-E427-4C86-971A-FCC3D530B364}" type="sibTrans" cxnId="{D63E15E8-ACD5-4F8F-B846-A01B683F9FC8}">
      <dgm:prSet/>
      <dgm:spPr/>
      <dgm:t>
        <a:bodyPr/>
        <a:lstStyle/>
        <a:p>
          <a:endParaRPr lang="en-US"/>
        </a:p>
      </dgm:t>
    </dgm:pt>
    <dgm:pt modelId="{24544602-2E82-4A01-991B-BC016F2F8BAF}">
      <dgm:prSet phldrT="[Text]"/>
      <dgm:spPr/>
      <dgm:t>
        <a:bodyPr/>
        <a:lstStyle/>
        <a:p>
          <a:r>
            <a:rPr lang="en-US" dirty="0" smtClean="0"/>
            <a:t>Train and Test Dataset proportional</a:t>
          </a:r>
          <a:endParaRPr lang="en-US" dirty="0"/>
        </a:p>
      </dgm:t>
    </dgm:pt>
    <dgm:pt modelId="{87E8D435-B67C-4A15-B00F-A0EEB3C0E0EB}" type="parTrans" cxnId="{3D57171C-ABCA-437C-A531-BB71EA750DBB}">
      <dgm:prSet/>
      <dgm:spPr/>
      <dgm:t>
        <a:bodyPr/>
        <a:lstStyle/>
        <a:p>
          <a:endParaRPr lang="en-US"/>
        </a:p>
      </dgm:t>
    </dgm:pt>
    <dgm:pt modelId="{057ACFF9-950F-448F-80AF-D9AD75498B7D}" type="sibTrans" cxnId="{3D57171C-ABCA-437C-A531-BB71EA750DBB}">
      <dgm:prSet/>
      <dgm:spPr/>
      <dgm:t>
        <a:bodyPr/>
        <a:lstStyle/>
        <a:p>
          <a:endParaRPr lang="en-US"/>
        </a:p>
      </dgm:t>
    </dgm:pt>
    <dgm:pt modelId="{1028798D-DB5A-4600-81B4-F3341155D333}">
      <dgm:prSet phldrT="[Text]"/>
      <dgm:spPr/>
      <dgm:t>
        <a:bodyPr/>
        <a:lstStyle/>
        <a:p>
          <a:r>
            <a:rPr lang="en-US" dirty="0" smtClean="0"/>
            <a:t>Evaluate Two Class Models</a:t>
          </a:r>
          <a:endParaRPr lang="en-US" dirty="0"/>
        </a:p>
      </dgm:t>
    </dgm:pt>
    <dgm:pt modelId="{F426E7C0-057A-4B17-8559-A2EB729C266B}" type="parTrans" cxnId="{11552310-3875-4173-A750-789AE3E92329}">
      <dgm:prSet/>
      <dgm:spPr/>
      <dgm:t>
        <a:bodyPr/>
        <a:lstStyle/>
        <a:p>
          <a:endParaRPr lang="en-US"/>
        </a:p>
      </dgm:t>
    </dgm:pt>
    <dgm:pt modelId="{28AB9758-041F-46EE-B6EB-E6B90172BB35}" type="sibTrans" cxnId="{11552310-3875-4173-A750-789AE3E92329}">
      <dgm:prSet/>
      <dgm:spPr/>
      <dgm:t>
        <a:bodyPr/>
        <a:lstStyle/>
        <a:p>
          <a:endParaRPr lang="en-US"/>
        </a:p>
      </dgm:t>
    </dgm:pt>
    <dgm:pt modelId="{DA55357A-480B-4E7C-98CF-094C4B21D5D5}">
      <dgm:prSet phldrT="[Text]"/>
      <dgm:spPr/>
      <dgm:t>
        <a:bodyPr/>
        <a:lstStyle/>
        <a:p>
          <a:r>
            <a:rPr lang="en-US" dirty="0" smtClean="0"/>
            <a:t>Time Series Analysis</a:t>
          </a:r>
          <a:endParaRPr lang="en-US" dirty="0"/>
        </a:p>
      </dgm:t>
    </dgm:pt>
    <dgm:pt modelId="{821DFD2F-F17C-4DCB-8081-0BA22EF7BE88}" type="parTrans" cxnId="{D5709A81-7948-40C1-955E-4977B77F3EEF}">
      <dgm:prSet/>
      <dgm:spPr/>
      <dgm:t>
        <a:bodyPr/>
        <a:lstStyle/>
        <a:p>
          <a:endParaRPr lang="en-US"/>
        </a:p>
      </dgm:t>
    </dgm:pt>
    <dgm:pt modelId="{CF967F6D-4E4D-4045-853E-DFCBDB1806AE}" type="sibTrans" cxnId="{D5709A81-7948-40C1-955E-4977B77F3EEF}">
      <dgm:prSet/>
      <dgm:spPr/>
      <dgm:t>
        <a:bodyPr/>
        <a:lstStyle/>
        <a:p>
          <a:endParaRPr lang="en-US"/>
        </a:p>
      </dgm:t>
    </dgm:pt>
    <dgm:pt modelId="{9033A73E-60CA-4F83-A8E2-AACE0C968BC8}" type="pres">
      <dgm:prSet presAssocID="{10E0E261-EBC7-4027-BB39-9D209F57DA6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9F6F074-4648-4FB0-AEA9-8A18236C4109}" type="pres">
      <dgm:prSet presAssocID="{10E0E261-EBC7-4027-BB39-9D209F57DA6F}" presName="tSp" presStyleCnt="0"/>
      <dgm:spPr/>
    </dgm:pt>
    <dgm:pt modelId="{3BA68565-DC74-4DEA-850B-B4C3BD160214}" type="pres">
      <dgm:prSet presAssocID="{10E0E261-EBC7-4027-BB39-9D209F57DA6F}" presName="bSp" presStyleCnt="0"/>
      <dgm:spPr/>
    </dgm:pt>
    <dgm:pt modelId="{A9B7A8CB-FC99-4DF5-845F-A21FAFC3736A}" type="pres">
      <dgm:prSet presAssocID="{10E0E261-EBC7-4027-BB39-9D209F57DA6F}" presName="process" presStyleCnt="0"/>
      <dgm:spPr/>
    </dgm:pt>
    <dgm:pt modelId="{C2C10B45-9EE3-4CC1-9E16-CE3A1805DE60}" type="pres">
      <dgm:prSet presAssocID="{D2630E99-CBA7-4065-8FDF-F44BB8D34DBF}" presName="composite1" presStyleCnt="0"/>
      <dgm:spPr/>
    </dgm:pt>
    <dgm:pt modelId="{EB8AD871-B2A6-4FEE-8C16-4E85CE301A72}" type="pres">
      <dgm:prSet presAssocID="{D2630E99-CBA7-4065-8FDF-F44BB8D34DBF}" presName="dummyNode1" presStyleLbl="node1" presStyleIdx="0" presStyleCnt="6"/>
      <dgm:spPr/>
    </dgm:pt>
    <dgm:pt modelId="{835F6FFB-6C04-4182-A0C8-A45419143A64}" type="pres">
      <dgm:prSet presAssocID="{D2630E99-CBA7-4065-8FDF-F44BB8D34DBF}" presName="childNode1" presStyleLbl="bgAcc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1CE6D4-8276-4CB3-9459-8A2453019E3C}" type="pres">
      <dgm:prSet presAssocID="{D2630E99-CBA7-4065-8FDF-F44BB8D34DBF}" presName="childNode1tx" presStyleLbl="bgAcc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314E8B-4235-45C1-94E0-3B4E61B11363}" type="pres">
      <dgm:prSet presAssocID="{D2630E99-CBA7-4065-8FDF-F44BB8D34DBF}" presName="parentNode1" presStyleLbl="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5DDE5D4-0345-4D8B-97AF-B83CE17E262A}" type="pres">
      <dgm:prSet presAssocID="{D2630E99-CBA7-4065-8FDF-F44BB8D34DBF}" presName="connSite1" presStyleCnt="0"/>
      <dgm:spPr/>
    </dgm:pt>
    <dgm:pt modelId="{5EE5CDA7-8567-4B86-8E14-3CA05C8BEE08}" type="pres">
      <dgm:prSet presAssocID="{D12B110E-8694-4EC2-BBC4-4349312FE059}" presName="Name9" presStyleLbl="sibTrans2D1" presStyleIdx="0" presStyleCnt="5"/>
      <dgm:spPr/>
      <dgm:t>
        <a:bodyPr/>
        <a:lstStyle/>
        <a:p>
          <a:endParaRPr lang="en-US"/>
        </a:p>
      </dgm:t>
    </dgm:pt>
    <dgm:pt modelId="{DADFD784-584C-420E-8517-E56567214DD4}" type="pres">
      <dgm:prSet presAssocID="{F8FA89BB-5B9C-4740-9714-0046B51F0A9A}" presName="composite2" presStyleCnt="0"/>
      <dgm:spPr/>
    </dgm:pt>
    <dgm:pt modelId="{4F8987F6-4FE8-4157-AF6A-2CCEE703D376}" type="pres">
      <dgm:prSet presAssocID="{F8FA89BB-5B9C-4740-9714-0046B51F0A9A}" presName="dummyNode2" presStyleLbl="node1" presStyleIdx="0" presStyleCnt="6"/>
      <dgm:spPr/>
    </dgm:pt>
    <dgm:pt modelId="{54C35E25-29E3-4443-BCE4-3641C6A12634}" type="pres">
      <dgm:prSet presAssocID="{F8FA89BB-5B9C-4740-9714-0046B51F0A9A}" presName="childNode2" presStyleLbl="bgAcc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BFA100-1B59-4021-AFAB-F59EC82AFFFB}" type="pres">
      <dgm:prSet presAssocID="{F8FA89BB-5B9C-4740-9714-0046B51F0A9A}" presName="childNode2tx" presStyleLbl="bgAcc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5BBF223-17DA-43D6-99D5-AAA82F468103}" type="pres">
      <dgm:prSet presAssocID="{F8FA89BB-5B9C-4740-9714-0046B51F0A9A}" presName="parentNode2" presStyleLbl="node1" presStyleIdx="1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183E70-E891-4A04-A5CE-E146C7958417}" type="pres">
      <dgm:prSet presAssocID="{F8FA89BB-5B9C-4740-9714-0046B51F0A9A}" presName="connSite2" presStyleCnt="0"/>
      <dgm:spPr/>
    </dgm:pt>
    <dgm:pt modelId="{82056805-8BAB-4C32-A94F-98DCC766F3B6}" type="pres">
      <dgm:prSet presAssocID="{10A0C0CC-B37C-4C1A-A4ED-D1E8DC792002}" presName="Name18" presStyleLbl="sibTrans2D1" presStyleIdx="1" presStyleCnt="5"/>
      <dgm:spPr/>
      <dgm:t>
        <a:bodyPr/>
        <a:lstStyle/>
        <a:p>
          <a:endParaRPr lang="en-US"/>
        </a:p>
      </dgm:t>
    </dgm:pt>
    <dgm:pt modelId="{02D1807F-8334-4267-BC4F-1E4E3C947E05}" type="pres">
      <dgm:prSet presAssocID="{CC95F4A5-1052-44AF-8287-813CA84C8B23}" presName="composite1" presStyleCnt="0"/>
      <dgm:spPr/>
    </dgm:pt>
    <dgm:pt modelId="{D9C61D14-F4B9-42CB-A70C-5E5577EFC6BF}" type="pres">
      <dgm:prSet presAssocID="{CC95F4A5-1052-44AF-8287-813CA84C8B23}" presName="dummyNode1" presStyleLbl="node1" presStyleIdx="1" presStyleCnt="6"/>
      <dgm:spPr/>
    </dgm:pt>
    <dgm:pt modelId="{79B74401-D71D-4F92-B91A-8992A2138FA5}" type="pres">
      <dgm:prSet presAssocID="{CC95F4A5-1052-44AF-8287-813CA84C8B23}" presName="childNode1" presStyleLbl="bgAcc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DE8E09-D483-4C38-8211-8BC4DDC41773}" type="pres">
      <dgm:prSet presAssocID="{CC95F4A5-1052-44AF-8287-813CA84C8B23}" presName="childNode1tx" presStyleLbl="bgAcc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A2E77A-374B-40AD-899F-08CB476CBF59}" type="pres">
      <dgm:prSet presAssocID="{CC95F4A5-1052-44AF-8287-813CA84C8B23}" presName="parentNode1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37DE4E-F689-4F48-8FB1-F0A014DE28EC}" type="pres">
      <dgm:prSet presAssocID="{CC95F4A5-1052-44AF-8287-813CA84C8B23}" presName="connSite1" presStyleCnt="0"/>
      <dgm:spPr/>
    </dgm:pt>
    <dgm:pt modelId="{C99AEBF5-476D-4A1E-B24B-A552A8AFF4BD}" type="pres">
      <dgm:prSet presAssocID="{3C16C80B-8B19-440C-BDC7-2192AEC99721}" presName="Name9" presStyleLbl="sibTrans2D1" presStyleIdx="2" presStyleCnt="5"/>
      <dgm:spPr/>
      <dgm:t>
        <a:bodyPr/>
        <a:lstStyle/>
        <a:p>
          <a:endParaRPr lang="en-US"/>
        </a:p>
      </dgm:t>
    </dgm:pt>
    <dgm:pt modelId="{B1B88804-1284-47EF-92C5-6C01F263CA81}" type="pres">
      <dgm:prSet presAssocID="{9DF26328-3827-42C0-AB56-800CD3F5DB76}" presName="composite2" presStyleCnt="0"/>
      <dgm:spPr/>
    </dgm:pt>
    <dgm:pt modelId="{5EE156A3-1D1E-433E-BC10-8A008DAA3E5D}" type="pres">
      <dgm:prSet presAssocID="{9DF26328-3827-42C0-AB56-800CD3F5DB76}" presName="dummyNode2" presStyleLbl="node1" presStyleIdx="2" presStyleCnt="6"/>
      <dgm:spPr/>
    </dgm:pt>
    <dgm:pt modelId="{3995C29C-81D4-4648-9244-285E41967477}" type="pres">
      <dgm:prSet presAssocID="{9DF26328-3827-42C0-AB56-800CD3F5DB76}" presName="childNode2" presStyleLbl="bgAcc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221875-0CA7-48BB-B810-C2DA91DF4037}" type="pres">
      <dgm:prSet presAssocID="{9DF26328-3827-42C0-AB56-800CD3F5DB76}" presName="childNode2tx" presStyleLbl="bgAcc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C67194-3914-4309-A0A4-52630894D727}" type="pres">
      <dgm:prSet presAssocID="{9DF26328-3827-42C0-AB56-800CD3F5DB76}" presName="parentNode2" presStyleLbl="node1" presStyleIdx="3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2C1BAC-CBDC-4B30-A768-51E99BDD7053}" type="pres">
      <dgm:prSet presAssocID="{9DF26328-3827-42C0-AB56-800CD3F5DB76}" presName="connSite2" presStyleCnt="0"/>
      <dgm:spPr/>
    </dgm:pt>
    <dgm:pt modelId="{F529054D-73CB-4968-942D-6B430C2CFF3C}" type="pres">
      <dgm:prSet presAssocID="{9288FFC9-4689-419C-A3C5-A775F8DEECFE}" presName="Name18" presStyleLbl="sibTrans2D1" presStyleIdx="3" presStyleCnt="5"/>
      <dgm:spPr/>
      <dgm:t>
        <a:bodyPr/>
        <a:lstStyle/>
        <a:p>
          <a:endParaRPr lang="en-US"/>
        </a:p>
      </dgm:t>
    </dgm:pt>
    <dgm:pt modelId="{0B9B9E03-710A-483F-9FEE-3E266D18C4B7}" type="pres">
      <dgm:prSet presAssocID="{416EACF0-ABE0-4FF3-B94F-31F553489261}" presName="composite1" presStyleCnt="0"/>
      <dgm:spPr/>
    </dgm:pt>
    <dgm:pt modelId="{09BFA525-2940-4F30-808F-2ACC6951CA73}" type="pres">
      <dgm:prSet presAssocID="{416EACF0-ABE0-4FF3-B94F-31F553489261}" presName="dummyNode1" presStyleLbl="node1" presStyleIdx="3" presStyleCnt="6"/>
      <dgm:spPr/>
    </dgm:pt>
    <dgm:pt modelId="{6DC9238F-C922-4BC0-9DF0-137CF55C4F4F}" type="pres">
      <dgm:prSet presAssocID="{416EACF0-ABE0-4FF3-B94F-31F553489261}" presName="childNode1" presStyleLbl="bgAcc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3DDDAD-80CB-4CB1-A643-47608115C064}" type="pres">
      <dgm:prSet presAssocID="{416EACF0-ABE0-4FF3-B94F-31F553489261}" presName="childNode1tx" presStyleLbl="bgAcc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5402C4-C598-47B2-A9A8-FA2B9173ED8B}" type="pres">
      <dgm:prSet presAssocID="{416EACF0-ABE0-4FF3-B94F-31F553489261}" presName="parentNode1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766757-F51A-40A9-87AE-5530C5AF4B65}" type="pres">
      <dgm:prSet presAssocID="{416EACF0-ABE0-4FF3-B94F-31F553489261}" presName="connSite1" presStyleCnt="0"/>
      <dgm:spPr/>
    </dgm:pt>
    <dgm:pt modelId="{3FA4BF05-D145-4D52-AA95-D582B21D8BEE}" type="pres">
      <dgm:prSet presAssocID="{9816C993-B14E-4B23-9CE0-CBFBD7F102B5}" presName="Name9" presStyleLbl="sibTrans2D1" presStyleIdx="4" presStyleCnt="5"/>
      <dgm:spPr/>
      <dgm:t>
        <a:bodyPr/>
        <a:lstStyle/>
        <a:p>
          <a:endParaRPr lang="en-US"/>
        </a:p>
      </dgm:t>
    </dgm:pt>
    <dgm:pt modelId="{911AF2B5-5848-4996-9555-572EAA022023}" type="pres">
      <dgm:prSet presAssocID="{15F80503-6E69-4ABD-8A46-A4F77EFE0A6A}" presName="composite2" presStyleCnt="0"/>
      <dgm:spPr/>
    </dgm:pt>
    <dgm:pt modelId="{FC7B2C3D-E508-4EC3-B105-1D56AA098DEF}" type="pres">
      <dgm:prSet presAssocID="{15F80503-6E69-4ABD-8A46-A4F77EFE0A6A}" presName="dummyNode2" presStyleLbl="node1" presStyleIdx="4" presStyleCnt="6"/>
      <dgm:spPr/>
    </dgm:pt>
    <dgm:pt modelId="{2B948F69-E904-4C7C-A680-D0EAF6F109BA}" type="pres">
      <dgm:prSet presAssocID="{15F80503-6E69-4ABD-8A46-A4F77EFE0A6A}" presName="childNode2" presStyleLbl="bgAcc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B552E8-7230-4A37-A005-E981009EC856}" type="pres">
      <dgm:prSet presAssocID="{15F80503-6E69-4ABD-8A46-A4F77EFE0A6A}" presName="childNode2tx" presStyleLbl="bgAcc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1B3686-A57C-4535-9704-838B4EC9CF2E}" type="pres">
      <dgm:prSet presAssocID="{15F80503-6E69-4ABD-8A46-A4F77EFE0A6A}" presName="parentNode2" presStyleLbl="node1" presStyleIdx="5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25EB1DD-3B60-4714-9306-B0A8E657BA46}" type="pres">
      <dgm:prSet presAssocID="{15F80503-6E69-4ABD-8A46-A4F77EFE0A6A}" presName="connSite2" presStyleCnt="0"/>
      <dgm:spPr/>
    </dgm:pt>
  </dgm:ptLst>
  <dgm:cxnLst>
    <dgm:cxn modelId="{9DD37C1B-5359-417F-8D1A-0ADF287818E9}" type="presOf" srcId="{CC95F4A5-1052-44AF-8287-813CA84C8B23}" destId="{88A2E77A-374B-40AD-899F-08CB476CBF59}" srcOrd="0" destOrd="0" presId="urn:microsoft.com/office/officeart/2005/8/layout/hProcess4"/>
    <dgm:cxn modelId="{006DB6B0-1828-479C-B274-68ADF23EB97A}" type="presOf" srcId="{15F80503-6E69-4ABD-8A46-A4F77EFE0A6A}" destId="{211B3686-A57C-4535-9704-838B4EC9CF2E}" srcOrd="0" destOrd="0" presId="urn:microsoft.com/office/officeart/2005/8/layout/hProcess4"/>
    <dgm:cxn modelId="{7F44DAEF-2003-40B6-B632-F14A6C0F0642}" type="presOf" srcId="{10E0E261-EBC7-4027-BB39-9D209F57DA6F}" destId="{9033A73E-60CA-4F83-A8E2-AACE0C968BC8}" srcOrd="0" destOrd="0" presId="urn:microsoft.com/office/officeart/2005/8/layout/hProcess4"/>
    <dgm:cxn modelId="{E93835F3-AEDD-43CE-9BDF-C350038C207F}" type="presOf" srcId="{3C16C80B-8B19-440C-BDC7-2192AEC99721}" destId="{C99AEBF5-476D-4A1E-B24B-A552A8AFF4BD}" srcOrd="0" destOrd="0" presId="urn:microsoft.com/office/officeart/2005/8/layout/hProcess4"/>
    <dgm:cxn modelId="{292EF8A6-FE6B-435A-8A6F-537D6C2DB391}" srcId="{10E0E261-EBC7-4027-BB39-9D209F57DA6F}" destId="{F8FA89BB-5B9C-4740-9714-0046B51F0A9A}" srcOrd="1" destOrd="0" parTransId="{987E76FE-2A56-415B-92E4-814D2807E19A}" sibTransId="{10A0C0CC-B37C-4C1A-A4ED-D1E8DC792002}"/>
    <dgm:cxn modelId="{03DA80B7-7C0C-41FA-B2F2-196B72E901CD}" type="presOf" srcId="{9DF26328-3827-42C0-AB56-800CD3F5DB76}" destId="{99C67194-3914-4309-A0A4-52630894D727}" srcOrd="0" destOrd="0" presId="urn:microsoft.com/office/officeart/2005/8/layout/hProcess4"/>
    <dgm:cxn modelId="{A2F72351-D90E-44AF-A52A-1B0CFABCE5F0}" srcId="{10E0E261-EBC7-4027-BB39-9D209F57DA6F}" destId="{416EACF0-ABE0-4FF3-B94F-31F553489261}" srcOrd="4" destOrd="0" parTransId="{B3500E5D-09B7-4D2D-AFEF-B25BB3119864}" sibTransId="{9816C993-B14E-4B23-9CE0-CBFBD7F102B5}"/>
    <dgm:cxn modelId="{CE14C818-F648-495D-8B03-489AA75EC41D}" type="presOf" srcId="{79C9272A-12CA-40D5-A155-E22FEFC415BA}" destId="{835F6FFB-6C04-4182-A0C8-A45419143A64}" srcOrd="0" destOrd="0" presId="urn:microsoft.com/office/officeart/2005/8/layout/hProcess4"/>
    <dgm:cxn modelId="{11552310-3875-4173-A750-789AE3E92329}" srcId="{9DF26328-3827-42C0-AB56-800CD3F5DB76}" destId="{1028798D-DB5A-4600-81B4-F3341155D333}" srcOrd="0" destOrd="0" parTransId="{F426E7C0-057A-4B17-8559-A2EB729C266B}" sibTransId="{28AB9758-041F-46EE-B6EB-E6B90172BB35}"/>
    <dgm:cxn modelId="{D4A44DE0-2880-4861-B1EC-99664FCE5141}" srcId="{416EACF0-ABE0-4FF3-B94F-31F553489261}" destId="{9D9704DD-5AAB-4A38-BA81-06142AAE75A5}" srcOrd="0" destOrd="0" parTransId="{F598AB4C-FA4F-40AD-9C0F-1D4FD896E351}" sibTransId="{09E96E63-BB89-431A-8B35-12407F8B6F82}"/>
    <dgm:cxn modelId="{B63CE5F8-63BD-4F0D-8A74-CA18359E5CEC}" type="presOf" srcId="{DA55357A-480B-4E7C-98CF-094C4B21D5D5}" destId="{2B948F69-E904-4C7C-A680-D0EAF6F109BA}" srcOrd="0" destOrd="1" presId="urn:microsoft.com/office/officeart/2005/8/layout/hProcess4"/>
    <dgm:cxn modelId="{542CA751-A749-4E1B-BFD0-0AED0F95E7AB}" type="presOf" srcId="{9D9704DD-5AAB-4A38-BA81-06142AAE75A5}" destId="{6DC9238F-C922-4BC0-9DF0-137CF55C4F4F}" srcOrd="0" destOrd="0" presId="urn:microsoft.com/office/officeart/2005/8/layout/hProcess4"/>
    <dgm:cxn modelId="{DE3D38F8-BB7D-4630-86B1-0CEF71291273}" type="presOf" srcId="{1028798D-DB5A-4600-81B4-F3341155D333}" destId="{2F221875-0CA7-48BB-B810-C2DA91DF4037}" srcOrd="1" destOrd="0" presId="urn:microsoft.com/office/officeart/2005/8/layout/hProcess4"/>
    <dgm:cxn modelId="{F3F41677-1A3D-480E-A53B-4486646C0853}" type="presOf" srcId="{416EACF0-ABE0-4FF3-B94F-31F553489261}" destId="{505402C4-C598-47B2-A9A8-FA2B9173ED8B}" srcOrd="0" destOrd="0" presId="urn:microsoft.com/office/officeart/2005/8/layout/hProcess4"/>
    <dgm:cxn modelId="{254FBAB4-CC2C-482C-8A58-7ADB3E43FCA5}" srcId="{CC95F4A5-1052-44AF-8287-813CA84C8B23}" destId="{09A93F22-DB9D-4168-A3FA-58DCC77A9B61}" srcOrd="0" destOrd="0" parTransId="{53A2CE08-91F3-4539-9FC6-7EB422C375E3}" sibTransId="{6FBA870E-21E3-4D58-8FA4-89FE8ADACE26}"/>
    <dgm:cxn modelId="{3CA8A082-FA8F-48C9-A632-15653EDF8CD8}" type="presOf" srcId="{FAED7B68-9D68-4BD1-BB96-212C1B458E00}" destId="{2B948F69-E904-4C7C-A680-D0EAF6F109BA}" srcOrd="0" destOrd="0" presId="urn:microsoft.com/office/officeart/2005/8/layout/hProcess4"/>
    <dgm:cxn modelId="{E1C2B534-DA65-43E6-A53D-758C816A3619}" type="presOf" srcId="{D12B110E-8694-4EC2-BBC4-4349312FE059}" destId="{5EE5CDA7-8567-4B86-8E14-3CA05C8BEE08}" srcOrd="0" destOrd="0" presId="urn:microsoft.com/office/officeart/2005/8/layout/hProcess4"/>
    <dgm:cxn modelId="{224170C1-9DD3-423E-BAFB-1FAA5A398D14}" type="presOf" srcId="{9D9704DD-5AAB-4A38-BA81-06142AAE75A5}" destId="{E03DDDAD-80CB-4CB1-A643-47608115C064}" srcOrd="1" destOrd="0" presId="urn:microsoft.com/office/officeart/2005/8/layout/hProcess4"/>
    <dgm:cxn modelId="{16BC6233-C96C-4C26-8DB4-1A47362E61D9}" srcId="{D2630E99-CBA7-4065-8FDF-F44BB8D34DBF}" destId="{79C9272A-12CA-40D5-A155-E22FEFC415BA}" srcOrd="0" destOrd="0" parTransId="{47738A00-9FB2-4487-BC4E-13957168BFF9}" sibTransId="{3DC22CB7-472D-4C0F-BA18-0AAEEB58999B}"/>
    <dgm:cxn modelId="{E888F622-DC46-4059-B008-55E2490AF4A1}" type="presOf" srcId="{1028798D-DB5A-4600-81B4-F3341155D333}" destId="{3995C29C-81D4-4648-9244-285E41967477}" srcOrd="0" destOrd="0" presId="urn:microsoft.com/office/officeart/2005/8/layout/hProcess4"/>
    <dgm:cxn modelId="{EC398604-93E9-4F77-9815-7D6832E75681}" type="presOf" srcId="{DA55357A-480B-4E7C-98CF-094C4B21D5D5}" destId="{D6B552E8-7230-4A37-A005-E981009EC856}" srcOrd="1" destOrd="1" presId="urn:microsoft.com/office/officeart/2005/8/layout/hProcess4"/>
    <dgm:cxn modelId="{303D5D37-C3D0-4419-92AE-C60AC9D1685E}" type="presOf" srcId="{09A93F22-DB9D-4168-A3FA-58DCC77A9B61}" destId="{92DE8E09-D483-4C38-8211-8BC4DDC41773}" srcOrd="1" destOrd="0" presId="urn:microsoft.com/office/officeart/2005/8/layout/hProcess4"/>
    <dgm:cxn modelId="{6A788EBE-1A32-4A16-9A40-F95D6E5101F5}" srcId="{10E0E261-EBC7-4027-BB39-9D209F57DA6F}" destId="{15F80503-6E69-4ABD-8A46-A4F77EFE0A6A}" srcOrd="5" destOrd="0" parTransId="{3AE1B905-DAA7-46F9-90CE-6208CA056697}" sibTransId="{CEA2CF3A-E6BD-4847-B388-3E741CE7E614}"/>
    <dgm:cxn modelId="{826E4BE1-56F2-4045-A111-E9586F518DB7}" type="presOf" srcId="{79C9272A-12CA-40D5-A155-E22FEFC415BA}" destId="{131CE6D4-8276-4CB3-9459-8A2453019E3C}" srcOrd="1" destOrd="0" presId="urn:microsoft.com/office/officeart/2005/8/layout/hProcess4"/>
    <dgm:cxn modelId="{50230B86-211C-4726-9C57-12E7D3D635F5}" type="presOf" srcId="{09A93F22-DB9D-4168-A3FA-58DCC77A9B61}" destId="{79B74401-D71D-4F92-B91A-8992A2138FA5}" srcOrd="0" destOrd="0" presId="urn:microsoft.com/office/officeart/2005/8/layout/hProcess4"/>
    <dgm:cxn modelId="{5B9114BF-5016-4A40-9488-019B48F4BABB}" type="presOf" srcId="{24544602-2E82-4A01-991B-BC016F2F8BAF}" destId="{54C35E25-29E3-4443-BCE4-3641C6A12634}" srcOrd="0" destOrd="0" presId="urn:microsoft.com/office/officeart/2005/8/layout/hProcess4"/>
    <dgm:cxn modelId="{D63E15E8-ACD5-4F8F-B846-A01B683F9FC8}" srcId="{15F80503-6E69-4ABD-8A46-A4F77EFE0A6A}" destId="{FAED7B68-9D68-4BD1-BB96-212C1B458E00}" srcOrd="0" destOrd="0" parTransId="{82B38873-F19C-4FE3-AD08-062A197B1BDB}" sibTransId="{0EC8BE08-E427-4C86-971A-FCC3D530B364}"/>
    <dgm:cxn modelId="{6F2E1BD2-9B7B-49E9-B60D-2DB327295B92}" srcId="{10E0E261-EBC7-4027-BB39-9D209F57DA6F}" destId="{9DF26328-3827-42C0-AB56-800CD3F5DB76}" srcOrd="3" destOrd="0" parTransId="{31C45A46-636E-4961-81BA-E0B4F40E0AA7}" sibTransId="{9288FFC9-4689-419C-A3C5-A775F8DEECFE}"/>
    <dgm:cxn modelId="{0A67AAB7-111F-4863-8108-ACE44CDCBF11}" type="presOf" srcId="{FAED7B68-9D68-4BD1-BB96-212C1B458E00}" destId="{D6B552E8-7230-4A37-A005-E981009EC856}" srcOrd="1" destOrd="0" presId="urn:microsoft.com/office/officeart/2005/8/layout/hProcess4"/>
    <dgm:cxn modelId="{3D57171C-ABCA-437C-A531-BB71EA750DBB}" srcId="{F8FA89BB-5B9C-4740-9714-0046B51F0A9A}" destId="{24544602-2E82-4A01-991B-BC016F2F8BAF}" srcOrd="0" destOrd="0" parTransId="{87E8D435-B67C-4A15-B00F-A0EEB3C0E0EB}" sibTransId="{057ACFF9-950F-448F-80AF-D9AD75498B7D}"/>
    <dgm:cxn modelId="{D5709A81-7948-40C1-955E-4977B77F3EEF}" srcId="{15F80503-6E69-4ABD-8A46-A4F77EFE0A6A}" destId="{DA55357A-480B-4E7C-98CF-094C4B21D5D5}" srcOrd="1" destOrd="0" parTransId="{821DFD2F-F17C-4DCB-8081-0BA22EF7BE88}" sibTransId="{CF967F6D-4E4D-4045-853E-DFCBDB1806AE}"/>
    <dgm:cxn modelId="{AF7BE3CF-D264-4C2C-BB5F-9E8F8E15F1A5}" type="presOf" srcId="{9288FFC9-4689-419C-A3C5-A775F8DEECFE}" destId="{F529054D-73CB-4968-942D-6B430C2CFF3C}" srcOrd="0" destOrd="0" presId="urn:microsoft.com/office/officeart/2005/8/layout/hProcess4"/>
    <dgm:cxn modelId="{501F1FB0-3BED-40E0-B97C-D593FEDC7D64}" type="presOf" srcId="{9816C993-B14E-4B23-9CE0-CBFBD7F102B5}" destId="{3FA4BF05-D145-4D52-AA95-D582B21D8BEE}" srcOrd="0" destOrd="0" presId="urn:microsoft.com/office/officeart/2005/8/layout/hProcess4"/>
    <dgm:cxn modelId="{FDBF252A-22C2-4F32-B2D6-35EBD5D19DA1}" type="presOf" srcId="{10A0C0CC-B37C-4C1A-A4ED-D1E8DC792002}" destId="{82056805-8BAB-4C32-A94F-98DCC766F3B6}" srcOrd="0" destOrd="0" presId="urn:microsoft.com/office/officeart/2005/8/layout/hProcess4"/>
    <dgm:cxn modelId="{E3017C1F-5B99-40BA-8825-B4646F3B121D}" srcId="{10E0E261-EBC7-4027-BB39-9D209F57DA6F}" destId="{CC95F4A5-1052-44AF-8287-813CA84C8B23}" srcOrd="2" destOrd="0" parTransId="{46FB21B0-811A-421D-82D5-E2854D43D8C1}" sibTransId="{3C16C80B-8B19-440C-BDC7-2192AEC99721}"/>
    <dgm:cxn modelId="{DF4AA312-F73C-4E04-8F1D-A6880227071D}" type="presOf" srcId="{24544602-2E82-4A01-991B-BC016F2F8BAF}" destId="{39BFA100-1B59-4021-AFAB-F59EC82AFFFB}" srcOrd="1" destOrd="0" presId="urn:microsoft.com/office/officeart/2005/8/layout/hProcess4"/>
    <dgm:cxn modelId="{C3D846EC-A39B-46A2-BDE5-95DE7B4AE1A7}" type="presOf" srcId="{D2630E99-CBA7-4065-8FDF-F44BB8D34DBF}" destId="{F3314E8B-4235-45C1-94E0-3B4E61B11363}" srcOrd="0" destOrd="0" presId="urn:microsoft.com/office/officeart/2005/8/layout/hProcess4"/>
    <dgm:cxn modelId="{78FC40CC-A9ED-4E14-8F13-C481B7C94CC9}" srcId="{10E0E261-EBC7-4027-BB39-9D209F57DA6F}" destId="{D2630E99-CBA7-4065-8FDF-F44BB8D34DBF}" srcOrd="0" destOrd="0" parTransId="{DB55AAC8-EE8F-410E-B096-4EBED9B242A9}" sibTransId="{D12B110E-8694-4EC2-BBC4-4349312FE059}"/>
    <dgm:cxn modelId="{F3040651-E5EC-4F96-BB9B-48F84C6AB60A}" type="presOf" srcId="{F8FA89BB-5B9C-4740-9714-0046B51F0A9A}" destId="{75BBF223-17DA-43D6-99D5-AAA82F468103}" srcOrd="0" destOrd="0" presId="urn:microsoft.com/office/officeart/2005/8/layout/hProcess4"/>
    <dgm:cxn modelId="{61EE6A9B-0BED-4A32-AE28-E2FBDA797A87}" type="presParOf" srcId="{9033A73E-60CA-4F83-A8E2-AACE0C968BC8}" destId="{89F6F074-4648-4FB0-AEA9-8A18236C4109}" srcOrd="0" destOrd="0" presId="urn:microsoft.com/office/officeart/2005/8/layout/hProcess4"/>
    <dgm:cxn modelId="{8B024869-7DF9-4975-B851-4BACB57CD897}" type="presParOf" srcId="{9033A73E-60CA-4F83-A8E2-AACE0C968BC8}" destId="{3BA68565-DC74-4DEA-850B-B4C3BD160214}" srcOrd="1" destOrd="0" presId="urn:microsoft.com/office/officeart/2005/8/layout/hProcess4"/>
    <dgm:cxn modelId="{2871AC94-8FE2-4BBD-B422-0435CA9E6017}" type="presParOf" srcId="{9033A73E-60CA-4F83-A8E2-AACE0C968BC8}" destId="{A9B7A8CB-FC99-4DF5-845F-A21FAFC3736A}" srcOrd="2" destOrd="0" presId="urn:microsoft.com/office/officeart/2005/8/layout/hProcess4"/>
    <dgm:cxn modelId="{648DB359-C607-4135-A60F-2567949DCDB5}" type="presParOf" srcId="{A9B7A8CB-FC99-4DF5-845F-A21FAFC3736A}" destId="{C2C10B45-9EE3-4CC1-9E16-CE3A1805DE60}" srcOrd="0" destOrd="0" presId="urn:microsoft.com/office/officeart/2005/8/layout/hProcess4"/>
    <dgm:cxn modelId="{4F9FA871-0915-4057-B438-C33EA5D500E6}" type="presParOf" srcId="{C2C10B45-9EE3-4CC1-9E16-CE3A1805DE60}" destId="{EB8AD871-B2A6-4FEE-8C16-4E85CE301A72}" srcOrd="0" destOrd="0" presId="urn:microsoft.com/office/officeart/2005/8/layout/hProcess4"/>
    <dgm:cxn modelId="{DD5DCD25-B5BA-4F73-B8C9-C8862D67C657}" type="presParOf" srcId="{C2C10B45-9EE3-4CC1-9E16-CE3A1805DE60}" destId="{835F6FFB-6C04-4182-A0C8-A45419143A64}" srcOrd="1" destOrd="0" presId="urn:microsoft.com/office/officeart/2005/8/layout/hProcess4"/>
    <dgm:cxn modelId="{019ABFD7-8B6F-4C66-AAEE-00DC5FB119D9}" type="presParOf" srcId="{C2C10B45-9EE3-4CC1-9E16-CE3A1805DE60}" destId="{131CE6D4-8276-4CB3-9459-8A2453019E3C}" srcOrd="2" destOrd="0" presId="urn:microsoft.com/office/officeart/2005/8/layout/hProcess4"/>
    <dgm:cxn modelId="{A03D7A09-4F5D-4135-A616-20E0D4B5F581}" type="presParOf" srcId="{C2C10B45-9EE3-4CC1-9E16-CE3A1805DE60}" destId="{F3314E8B-4235-45C1-94E0-3B4E61B11363}" srcOrd="3" destOrd="0" presId="urn:microsoft.com/office/officeart/2005/8/layout/hProcess4"/>
    <dgm:cxn modelId="{08B4A62E-9F33-4055-9093-577906AAEFF9}" type="presParOf" srcId="{C2C10B45-9EE3-4CC1-9E16-CE3A1805DE60}" destId="{45DDE5D4-0345-4D8B-97AF-B83CE17E262A}" srcOrd="4" destOrd="0" presId="urn:microsoft.com/office/officeart/2005/8/layout/hProcess4"/>
    <dgm:cxn modelId="{7073EBC9-A489-4569-B3DF-E3FD70B0ACEA}" type="presParOf" srcId="{A9B7A8CB-FC99-4DF5-845F-A21FAFC3736A}" destId="{5EE5CDA7-8567-4B86-8E14-3CA05C8BEE08}" srcOrd="1" destOrd="0" presId="urn:microsoft.com/office/officeart/2005/8/layout/hProcess4"/>
    <dgm:cxn modelId="{318DDAE2-0105-4773-B737-DF2BE9EB1918}" type="presParOf" srcId="{A9B7A8CB-FC99-4DF5-845F-A21FAFC3736A}" destId="{DADFD784-584C-420E-8517-E56567214DD4}" srcOrd="2" destOrd="0" presId="urn:microsoft.com/office/officeart/2005/8/layout/hProcess4"/>
    <dgm:cxn modelId="{D7DBD8F8-9A59-4430-8347-21A441F03499}" type="presParOf" srcId="{DADFD784-584C-420E-8517-E56567214DD4}" destId="{4F8987F6-4FE8-4157-AF6A-2CCEE703D376}" srcOrd="0" destOrd="0" presId="urn:microsoft.com/office/officeart/2005/8/layout/hProcess4"/>
    <dgm:cxn modelId="{BCE4CB48-313D-43AA-8ECF-7FA8966EA67B}" type="presParOf" srcId="{DADFD784-584C-420E-8517-E56567214DD4}" destId="{54C35E25-29E3-4443-BCE4-3641C6A12634}" srcOrd="1" destOrd="0" presId="urn:microsoft.com/office/officeart/2005/8/layout/hProcess4"/>
    <dgm:cxn modelId="{D4FB8381-4330-4099-8A19-668C6046A638}" type="presParOf" srcId="{DADFD784-584C-420E-8517-E56567214DD4}" destId="{39BFA100-1B59-4021-AFAB-F59EC82AFFFB}" srcOrd="2" destOrd="0" presId="urn:microsoft.com/office/officeart/2005/8/layout/hProcess4"/>
    <dgm:cxn modelId="{E96336EA-3808-4C29-8DFB-AC4D0A37DA90}" type="presParOf" srcId="{DADFD784-584C-420E-8517-E56567214DD4}" destId="{75BBF223-17DA-43D6-99D5-AAA82F468103}" srcOrd="3" destOrd="0" presId="urn:microsoft.com/office/officeart/2005/8/layout/hProcess4"/>
    <dgm:cxn modelId="{D76A2D2E-68FA-4DC7-B35E-034F41C3A628}" type="presParOf" srcId="{DADFD784-584C-420E-8517-E56567214DD4}" destId="{42183E70-E891-4A04-A5CE-E146C7958417}" srcOrd="4" destOrd="0" presId="urn:microsoft.com/office/officeart/2005/8/layout/hProcess4"/>
    <dgm:cxn modelId="{1F770414-D919-4F70-87AE-1E36EC389010}" type="presParOf" srcId="{A9B7A8CB-FC99-4DF5-845F-A21FAFC3736A}" destId="{82056805-8BAB-4C32-A94F-98DCC766F3B6}" srcOrd="3" destOrd="0" presId="urn:microsoft.com/office/officeart/2005/8/layout/hProcess4"/>
    <dgm:cxn modelId="{7F4E6984-4F27-456F-B3C5-00358990CE46}" type="presParOf" srcId="{A9B7A8CB-FC99-4DF5-845F-A21FAFC3736A}" destId="{02D1807F-8334-4267-BC4F-1E4E3C947E05}" srcOrd="4" destOrd="0" presId="urn:microsoft.com/office/officeart/2005/8/layout/hProcess4"/>
    <dgm:cxn modelId="{B4467897-9673-4EB7-B6CF-070CA17C35DE}" type="presParOf" srcId="{02D1807F-8334-4267-BC4F-1E4E3C947E05}" destId="{D9C61D14-F4B9-42CB-A70C-5E5577EFC6BF}" srcOrd="0" destOrd="0" presId="urn:microsoft.com/office/officeart/2005/8/layout/hProcess4"/>
    <dgm:cxn modelId="{C364C519-A4F3-47CB-9CD3-963FC5CE155F}" type="presParOf" srcId="{02D1807F-8334-4267-BC4F-1E4E3C947E05}" destId="{79B74401-D71D-4F92-B91A-8992A2138FA5}" srcOrd="1" destOrd="0" presId="urn:microsoft.com/office/officeart/2005/8/layout/hProcess4"/>
    <dgm:cxn modelId="{F59FA4B3-F691-458B-A5B1-3FA464B1597A}" type="presParOf" srcId="{02D1807F-8334-4267-BC4F-1E4E3C947E05}" destId="{92DE8E09-D483-4C38-8211-8BC4DDC41773}" srcOrd="2" destOrd="0" presId="urn:microsoft.com/office/officeart/2005/8/layout/hProcess4"/>
    <dgm:cxn modelId="{B1270E5F-DA38-4431-A952-A43A0995E226}" type="presParOf" srcId="{02D1807F-8334-4267-BC4F-1E4E3C947E05}" destId="{88A2E77A-374B-40AD-899F-08CB476CBF59}" srcOrd="3" destOrd="0" presId="urn:microsoft.com/office/officeart/2005/8/layout/hProcess4"/>
    <dgm:cxn modelId="{194ED79C-F125-4BF1-BBC6-50B706C050E9}" type="presParOf" srcId="{02D1807F-8334-4267-BC4F-1E4E3C947E05}" destId="{F837DE4E-F689-4F48-8FB1-F0A014DE28EC}" srcOrd="4" destOrd="0" presId="urn:microsoft.com/office/officeart/2005/8/layout/hProcess4"/>
    <dgm:cxn modelId="{02F6B462-AAF4-40DB-AD94-F36F7D52FEC0}" type="presParOf" srcId="{A9B7A8CB-FC99-4DF5-845F-A21FAFC3736A}" destId="{C99AEBF5-476D-4A1E-B24B-A552A8AFF4BD}" srcOrd="5" destOrd="0" presId="urn:microsoft.com/office/officeart/2005/8/layout/hProcess4"/>
    <dgm:cxn modelId="{EFA73CFD-43AA-4520-BFFB-EA784F1E75A5}" type="presParOf" srcId="{A9B7A8CB-FC99-4DF5-845F-A21FAFC3736A}" destId="{B1B88804-1284-47EF-92C5-6C01F263CA81}" srcOrd="6" destOrd="0" presId="urn:microsoft.com/office/officeart/2005/8/layout/hProcess4"/>
    <dgm:cxn modelId="{0A0B1BD8-B0A6-40B9-8C4D-434A3EE320D2}" type="presParOf" srcId="{B1B88804-1284-47EF-92C5-6C01F263CA81}" destId="{5EE156A3-1D1E-433E-BC10-8A008DAA3E5D}" srcOrd="0" destOrd="0" presId="urn:microsoft.com/office/officeart/2005/8/layout/hProcess4"/>
    <dgm:cxn modelId="{2098E35F-86D6-4310-AE89-A2AED01B5DD2}" type="presParOf" srcId="{B1B88804-1284-47EF-92C5-6C01F263CA81}" destId="{3995C29C-81D4-4648-9244-285E41967477}" srcOrd="1" destOrd="0" presId="urn:microsoft.com/office/officeart/2005/8/layout/hProcess4"/>
    <dgm:cxn modelId="{8C4567C8-88CF-4281-8BAD-41B00E391AD5}" type="presParOf" srcId="{B1B88804-1284-47EF-92C5-6C01F263CA81}" destId="{2F221875-0CA7-48BB-B810-C2DA91DF4037}" srcOrd="2" destOrd="0" presId="urn:microsoft.com/office/officeart/2005/8/layout/hProcess4"/>
    <dgm:cxn modelId="{CAC5DFC4-C40C-4227-9EC8-C07947CDCC98}" type="presParOf" srcId="{B1B88804-1284-47EF-92C5-6C01F263CA81}" destId="{99C67194-3914-4309-A0A4-52630894D727}" srcOrd="3" destOrd="0" presId="urn:microsoft.com/office/officeart/2005/8/layout/hProcess4"/>
    <dgm:cxn modelId="{26852074-ABE2-4A91-B65A-970BFF51E8AE}" type="presParOf" srcId="{B1B88804-1284-47EF-92C5-6C01F263CA81}" destId="{552C1BAC-CBDC-4B30-A768-51E99BDD7053}" srcOrd="4" destOrd="0" presId="urn:microsoft.com/office/officeart/2005/8/layout/hProcess4"/>
    <dgm:cxn modelId="{4B2CA7C0-2484-4819-953C-D89E8A0E0096}" type="presParOf" srcId="{A9B7A8CB-FC99-4DF5-845F-A21FAFC3736A}" destId="{F529054D-73CB-4968-942D-6B430C2CFF3C}" srcOrd="7" destOrd="0" presId="urn:microsoft.com/office/officeart/2005/8/layout/hProcess4"/>
    <dgm:cxn modelId="{995C17DC-5F0D-4AA4-B823-0F59B71E0E62}" type="presParOf" srcId="{A9B7A8CB-FC99-4DF5-845F-A21FAFC3736A}" destId="{0B9B9E03-710A-483F-9FEE-3E266D18C4B7}" srcOrd="8" destOrd="0" presId="urn:microsoft.com/office/officeart/2005/8/layout/hProcess4"/>
    <dgm:cxn modelId="{F2B93DF3-2E11-4D95-B1CB-58173A955D22}" type="presParOf" srcId="{0B9B9E03-710A-483F-9FEE-3E266D18C4B7}" destId="{09BFA525-2940-4F30-808F-2ACC6951CA73}" srcOrd="0" destOrd="0" presId="urn:microsoft.com/office/officeart/2005/8/layout/hProcess4"/>
    <dgm:cxn modelId="{11D7DE53-2EA8-441B-8589-CBD562625750}" type="presParOf" srcId="{0B9B9E03-710A-483F-9FEE-3E266D18C4B7}" destId="{6DC9238F-C922-4BC0-9DF0-137CF55C4F4F}" srcOrd="1" destOrd="0" presId="urn:microsoft.com/office/officeart/2005/8/layout/hProcess4"/>
    <dgm:cxn modelId="{900EB432-81C0-4902-B691-F94164FE0C15}" type="presParOf" srcId="{0B9B9E03-710A-483F-9FEE-3E266D18C4B7}" destId="{E03DDDAD-80CB-4CB1-A643-47608115C064}" srcOrd="2" destOrd="0" presId="urn:microsoft.com/office/officeart/2005/8/layout/hProcess4"/>
    <dgm:cxn modelId="{2B0927CE-6ED7-4795-9707-515FF8DAFE7D}" type="presParOf" srcId="{0B9B9E03-710A-483F-9FEE-3E266D18C4B7}" destId="{505402C4-C598-47B2-A9A8-FA2B9173ED8B}" srcOrd="3" destOrd="0" presId="urn:microsoft.com/office/officeart/2005/8/layout/hProcess4"/>
    <dgm:cxn modelId="{9E1A4450-7018-4236-8215-2107E474D87C}" type="presParOf" srcId="{0B9B9E03-710A-483F-9FEE-3E266D18C4B7}" destId="{61766757-F51A-40A9-87AE-5530C5AF4B65}" srcOrd="4" destOrd="0" presId="urn:microsoft.com/office/officeart/2005/8/layout/hProcess4"/>
    <dgm:cxn modelId="{EFA8ABAC-22F4-4755-AA58-A9E597D97756}" type="presParOf" srcId="{A9B7A8CB-FC99-4DF5-845F-A21FAFC3736A}" destId="{3FA4BF05-D145-4D52-AA95-D582B21D8BEE}" srcOrd="9" destOrd="0" presId="urn:microsoft.com/office/officeart/2005/8/layout/hProcess4"/>
    <dgm:cxn modelId="{8DE2393F-B7A3-4B7D-A1E5-01D7E3B355CA}" type="presParOf" srcId="{A9B7A8CB-FC99-4DF5-845F-A21FAFC3736A}" destId="{911AF2B5-5848-4996-9555-572EAA022023}" srcOrd="10" destOrd="0" presId="urn:microsoft.com/office/officeart/2005/8/layout/hProcess4"/>
    <dgm:cxn modelId="{D6E0D140-E33F-42E2-A69F-69C5AE491C38}" type="presParOf" srcId="{911AF2B5-5848-4996-9555-572EAA022023}" destId="{FC7B2C3D-E508-4EC3-B105-1D56AA098DEF}" srcOrd="0" destOrd="0" presId="urn:microsoft.com/office/officeart/2005/8/layout/hProcess4"/>
    <dgm:cxn modelId="{4555570F-D366-4554-8567-5F85D7E405CB}" type="presParOf" srcId="{911AF2B5-5848-4996-9555-572EAA022023}" destId="{2B948F69-E904-4C7C-A680-D0EAF6F109BA}" srcOrd="1" destOrd="0" presId="urn:microsoft.com/office/officeart/2005/8/layout/hProcess4"/>
    <dgm:cxn modelId="{9DD76421-48C3-4146-BFD2-9E239AF31391}" type="presParOf" srcId="{911AF2B5-5848-4996-9555-572EAA022023}" destId="{D6B552E8-7230-4A37-A005-E981009EC856}" srcOrd="2" destOrd="0" presId="urn:microsoft.com/office/officeart/2005/8/layout/hProcess4"/>
    <dgm:cxn modelId="{3F0BA5CE-3425-4379-8581-C69052472E68}" type="presParOf" srcId="{911AF2B5-5848-4996-9555-572EAA022023}" destId="{211B3686-A57C-4535-9704-838B4EC9CF2E}" srcOrd="3" destOrd="0" presId="urn:microsoft.com/office/officeart/2005/8/layout/hProcess4"/>
    <dgm:cxn modelId="{057A0FB3-9335-4625-ADC1-F1CF037B4BC0}" type="presParOf" srcId="{911AF2B5-5848-4996-9555-572EAA022023}" destId="{125EB1DD-3B60-4714-9306-B0A8E657BA46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97A22F-92ED-4724-A3EB-C5372502DAC8}">
      <dsp:nvSpPr>
        <dsp:cNvPr id="0" name=""/>
        <dsp:cNvSpPr/>
      </dsp:nvSpPr>
      <dsp:spPr>
        <a:xfrm>
          <a:off x="2412268" y="0"/>
          <a:ext cx="4536503" cy="4536503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48DEAA-1FE2-4AD3-AD9C-C7D0E552812E}">
      <dsp:nvSpPr>
        <dsp:cNvPr id="0" name=""/>
        <dsp:cNvSpPr/>
      </dsp:nvSpPr>
      <dsp:spPr>
        <a:xfrm>
          <a:off x="2707141" y="294872"/>
          <a:ext cx="1814601" cy="1814601"/>
        </a:xfrm>
        <a:prstGeom prst="round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1" kern="1200" dirty="0" smtClean="0"/>
            <a:t>True Positive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/>
            <a:t>Fully Paid </a:t>
          </a:r>
          <a:endParaRPr lang="en-US" sz="1600" kern="1200" dirty="0"/>
        </a:p>
      </dsp:txBody>
      <dsp:txXfrm>
        <a:off x="2795723" y="383454"/>
        <a:ext cx="1637437" cy="1637437"/>
      </dsp:txXfrm>
    </dsp:sp>
    <dsp:sp modelId="{50BFF49B-8F6A-43CA-93D9-CD179E1B428B}">
      <dsp:nvSpPr>
        <dsp:cNvPr id="0" name=""/>
        <dsp:cNvSpPr/>
      </dsp:nvSpPr>
      <dsp:spPr>
        <a:xfrm>
          <a:off x="4839297" y="294872"/>
          <a:ext cx="1814601" cy="1814601"/>
        </a:xfrm>
        <a:prstGeom prst="round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1" kern="1200" dirty="0" smtClean="0"/>
            <a:t>False Positive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/>
            <a:t>May </a:t>
          </a:r>
          <a:r>
            <a:rPr lang="en-IN" sz="1600" b="1" kern="1200" dirty="0" smtClean="0"/>
            <a:t>Default</a:t>
          </a:r>
          <a:r>
            <a:rPr lang="en-IN" sz="1600" kern="1200" dirty="0" smtClean="0"/>
            <a:t> but predicted as </a:t>
          </a:r>
          <a:r>
            <a:rPr lang="en-IN" sz="1600" b="1" kern="1200" dirty="0" smtClean="0"/>
            <a:t>Fully Paid</a:t>
          </a:r>
          <a:endParaRPr lang="en-US" sz="1600" b="1" kern="1200" dirty="0"/>
        </a:p>
      </dsp:txBody>
      <dsp:txXfrm>
        <a:off x="4927879" y="383454"/>
        <a:ext cx="1637437" cy="1637437"/>
      </dsp:txXfrm>
    </dsp:sp>
    <dsp:sp modelId="{4B2A4282-4B0C-486C-951E-52BAB4D5B476}">
      <dsp:nvSpPr>
        <dsp:cNvPr id="0" name=""/>
        <dsp:cNvSpPr/>
      </dsp:nvSpPr>
      <dsp:spPr>
        <a:xfrm>
          <a:off x="2707141" y="2427029"/>
          <a:ext cx="1814601" cy="1814601"/>
        </a:xfrm>
        <a:prstGeom prst="round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1" kern="1200" dirty="0" smtClean="0"/>
            <a:t>False Negative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/>
            <a:t>May </a:t>
          </a:r>
          <a:r>
            <a:rPr lang="en-IN" sz="1600" b="1" kern="1200" dirty="0" smtClean="0"/>
            <a:t>Pay in Full </a:t>
          </a:r>
          <a:r>
            <a:rPr lang="en-IN" sz="1600" kern="1200" dirty="0" smtClean="0"/>
            <a:t>but predicted as </a:t>
          </a:r>
          <a:r>
            <a:rPr lang="en-IN" sz="1600" b="1" kern="1200" dirty="0" smtClean="0"/>
            <a:t>Defaulters</a:t>
          </a:r>
          <a:endParaRPr lang="en-US" sz="1600" b="1" kern="1200" dirty="0"/>
        </a:p>
      </dsp:txBody>
      <dsp:txXfrm>
        <a:off x="2795723" y="2515611"/>
        <a:ext cx="1637437" cy="1637437"/>
      </dsp:txXfrm>
    </dsp:sp>
    <dsp:sp modelId="{F761EFDD-D0FC-4B7E-BEAD-1CBDF2890CAB}">
      <dsp:nvSpPr>
        <dsp:cNvPr id="0" name=""/>
        <dsp:cNvSpPr/>
      </dsp:nvSpPr>
      <dsp:spPr>
        <a:xfrm>
          <a:off x="4839297" y="2427029"/>
          <a:ext cx="1814601" cy="1814601"/>
        </a:xfrm>
        <a:prstGeom prst="round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1" kern="1200" dirty="0" smtClean="0"/>
            <a:t>True Negative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/>
            <a:t>Defaulters</a:t>
          </a:r>
          <a:endParaRPr lang="en-US" sz="1600" kern="1200" dirty="0"/>
        </a:p>
      </dsp:txBody>
      <dsp:txXfrm>
        <a:off x="4927879" y="2515611"/>
        <a:ext cx="1637437" cy="16374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33BBEE-2748-4B01-A0CF-A650F9B8CF8B}">
      <dsp:nvSpPr>
        <dsp:cNvPr id="0" name=""/>
        <dsp:cNvSpPr/>
      </dsp:nvSpPr>
      <dsp:spPr>
        <a:xfrm>
          <a:off x="433806" y="2368828"/>
          <a:ext cx="1715604" cy="1499654"/>
        </a:xfrm>
        <a:prstGeom prst="rightArrow">
          <a:avLst>
            <a:gd name="adj1" fmla="val 70000"/>
            <a:gd name="adj2" fmla="val 50000"/>
          </a:avLst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1270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kern="1200" dirty="0" smtClean="0">
              <a:solidFill>
                <a:schemeClr val="tx1"/>
              </a:solidFill>
            </a:rPr>
            <a:t>Score 0.985</a:t>
          </a:r>
          <a:endParaRPr lang="en-US" sz="1000" b="0" kern="1200" dirty="0">
            <a:solidFill>
              <a:schemeClr val="tx1"/>
            </a:solidFill>
          </a:endParaRPr>
        </a:p>
      </dsp:txBody>
      <dsp:txXfrm>
        <a:off x="862707" y="2593776"/>
        <a:ext cx="836357" cy="1049758"/>
      </dsp:txXfrm>
    </dsp:sp>
    <dsp:sp modelId="{541C1AE8-7F43-4E1A-B11E-4A1E56A0FE9B}">
      <dsp:nvSpPr>
        <dsp:cNvPr id="0" name=""/>
        <dsp:cNvSpPr/>
      </dsp:nvSpPr>
      <dsp:spPr>
        <a:xfrm>
          <a:off x="4904" y="2689754"/>
          <a:ext cx="857802" cy="85780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kern="1200" dirty="0" smtClean="0">
              <a:solidFill>
                <a:schemeClr val="tx1"/>
              </a:solidFill>
            </a:rPr>
            <a:t>F-Measure</a:t>
          </a:r>
          <a:endParaRPr lang="en-US" sz="1000" b="0" kern="1200" dirty="0">
            <a:solidFill>
              <a:schemeClr val="tx1"/>
            </a:solidFill>
          </a:endParaRPr>
        </a:p>
      </dsp:txBody>
      <dsp:txXfrm>
        <a:off x="130526" y="2815376"/>
        <a:ext cx="606558" cy="606558"/>
      </dsp:txXfrm>
    </dsp:sp>
    <dsp:sp modelId="{CA680368-20ED-47CB-90A9-3049E699F282}">
      <dsp:nvSpPr>
        <dsp:cNvPr id="0" name=""/>
        <dsp:cNvSpPr/>
      </dsp:nvSpPr>
      <dsp:spPr>
        <a:xfrm>
          <a:off x="2685537" y="2368828"/>
          <a:ext cx="1715604" cy="1499654"/>
        </a:xfrm>
        <a:prstGeom prst="rightArrow">
          <a:avLst>
            <a:gd name="adj1" fmla="val 70000"/>
            <a:gd name="adj2" fmla="val 50000"/>
          </a:avLst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1270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kern="1200" dirty="0" smtClean="0">
              <a:solidFill>
                <a:schemeClr val="tx1"/>
              </a:solidFill>
            </a:rPr>
            <a:t>Score 0.723</a:t>
          </a:r>
          <a:endParaRPr lang="en-US" sz="1000" b="0" kern="1200" dirty="0">
            <a:solidFill>
              <a:schemeClr val="tx1"/>
            </a:solidFill>
          </a:endParaRPr>
        </a:p>
      </dsp:txBody>
      <dsp:txXfrm>
        <a:off x="3114438" y="2593776"/>
        <a:ext cx="836357" cy="1049758"/>
      </dsp:txXfrm>
    </dsp:sp>
    <dsp:sp modelId="{461DCF52-91B9-40E1-ABB8-588321849341}">
      <dsp:nvSpPr>
        <dsp:cNvPr id="0" name=""/>
        <dsp:cNvSpPr/>
      </dsp:nvSpPr>
      <dsp:spPr>
        <a:xfrm>
          <a:off x="2256635" y="2689754"/>
          <a:ext cx="857802" cy="85780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kern="1200" dirty="0" smtClean="0">
              <a:solidFill>
                <a:schemeClr val="tx1"/>
              </a:solidFill>
            </a:rPr>
            <a:t>AUC</a:t>
          </a:r>
          <a:endParaRPr lang="en-US" sz="1000" b="0" kern="1200" dirty="0">
            <a:solidFill>
              <a:schemeClr val="tx1"/>
            </a:solidFill>
          </a:endParaRPr>
        </a:p>
      </dsp:txBody>
      <dsp:txXfrm>
        <a:off x="2382257" y="2815376"/>
        <a:ext cx="606558" cy="606558"/>
      </dsp:txXfrm>
    </dsp:sp>
    <dsp:sp modelId="{F0DBE206-D475-4256-917A-8891F9E36E16}">
      <dsp:nvSpPr>
        <dsp:cNvPr id="0" name=""/>
        <dsp:cNvSpPr/>
      </dsp:nvSpPr>
      <dsp:spPr>
        <a:xfrm>
          <a:off x="4937268" y="2368828"/>
          <a:ext cx="1715604" cy="1499654"/>
        </a:xfrm>
        <a:prstGeom prst="rightArrow">
          <a:avLst>
            <a:gd name="adj1" fmla="val 70000"/>
            <a:gd name="adj2" fmla="val 50000"/>
          </a:avLst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1270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kern="1200" dirty="0" smtClean="0">
              <a:solidFill>
                <a:schemeClr val="tx1"/>
              </a:solidFill>
            </a:rPr>
            <a:t>Score 0.997</a:t>
          </a:r>
          <a:endParaRPr lang="en-US" sz="1000" b="0" kern="1200" dirty="0">
            <a:solidFill>
              <a:schemeClr val="tx1"/>
            </a:solidFill>
          </a:endParaRPr>
        </a:p>
      </dsp:txBody>
      <dsp:txXfrm>
        <a:off x="5366169" y="2593776"/>
        <a:ext cx="836357" cy="1049758"/>
      </dsp:txXfrm>
    </dsp:sp>
    <dsp:sp modelId="{6B129177-6E19-4004-972D-4194C20F63BF}">
      <dsp:nvSpPr>
        <dsp:cNvPr id="0" name=""/>
        <dsp:cNvSpPr/>
      </dsp:nvSpPr>
      <dsp:spPr>
        <a:xfrm>
          <a:off x="4508367" y="2689754"/>
          <a:ext cx="857802" cy="85780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kern="1200" dirty="0" smtClean="0">
              <a:solidFill>
                <a:schemeClr val="tx1"/>
              </a:solidFill>
            </a:rPr>
            <a:t>Sensitivity</a:t>
          </a:r>
          <a:endParaRPr lang="en-US" sz="1000" b="0" kern="1200" dirty="0">
            <a:solidFill>
              <a:schemeClr val="tx1"/>
            </a:solidFill>
          </a:endParaRPr>
        </a:p>
      </dsp:txBody>
      <dsp:txXfrm>
        <a:off x="4633989" y="2815376"/>
        <a:ext cx="606558" cy="606558"/>
      </dsp:txXfrm>
    </dsp:sp>
    <dsp:sp modelId="{53BA36AA-8F88-4B22-8E10-F47A162F03E9}">
      <dsp:nvSpPr>
        <dsp:cNvPr id="0" name=""/>
        <dsp:cNvSpPr/>
      </dsp:nvSpPr>
      <dsp:spPr>
        <a:xfrm>
          <a:off x="7188999" y="2368828"/>
          <a:ext cx="1715604" cy="1499654"/>
        </a:xfrm>
        <a:prstGeom prst="rightArrow">
          <a:avLst>
            <a:gd name="adj1" fmla="val 70000"/>
            <a:gd name="adj2" fmla="val 50000"/>
          </a:avLst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1270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kern="1200" dirty="0" smtClean="0">
              <a:solidFill>
                <a:schemeClr val="tx1"/>
              </a:solidFill>
            </a:rPr>
            <a:t>Score 0.024</a:t>
          </a:r>
          <a:endParaRPr lang="en-US" sz="1000" b="0" kern="1200" dirty="0">
            <a:solidFill>
              <a:schemeClr val="tx1"/>
            </a:solidFill>
          </a:endParaRPr>
        </a:p>
      </dsp:txBody>
      <dsp:txXfrm>
        <a:off x="7617900" y="2593776"/>
        <a:ext cx="836357" cy="1049758"/>
      </dsp:txXfrm>
    </dsp:sp>
    <dsp:sp modelId="{50D6CE24-7847-4847-89AB-69CDEC508B17}">
      <dsp:nvSpPr>
        <dsp:cNvPr id="0" name=""/>
        <dsp:cNvSpPr/>
      </dsp:nvSpPr>
      <dsp:spPr>
        <a:xfrm>
          <a:off x="6760098" y="2689754"/>
          <a:ext cx="857802" cy="85780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kern="1200" dirty="0" smtClean="0">
              <a:solidFill>
                <a:schemeClr val="tx1"/>
              </a:solidFill>
            </a:rPr>
            <a:t>Specificity</a:t>
          </a:r>
          <a:endParaRPr lang="en-US" sz="1000" b="0" kern="1200" dirty="0">
            <a:solidFill>
              <a:schemeClr val="tx1"/>
            </a:solidFill>
          </a:endParaRPr>
        </a:p>
      </dsp:txBody>
      <dsp:txXfrm>
        <a:off x="6885720" y="2815376"/>
        <a:ext cx="606558" cy="606558"/>
      </dsp:txXfrm>
    </dsp:sp>
    <dsp:sp modelId="{8539EBC5-CE3D-4E7C-AF94-217428F820A4}">
      <dsp:nvSpPr>
        <dsp:cNvPr id="0" name=""/>
        <dsp:cNvSpPr/>
      </dsp:nvSpPr>
      <dsp:spPr>
        <a:xfrm>
          <a:off x="9440730" y="2368828"/>
          <a:ext cx="1715604" cy="1499654"/>
        </a:xfrm>
        <a:prstGeom prst="rightArrow">
          <a:avLst>
            <a:gd name="adj1" fmla="val 70000"/>
            <a:gd name="adj2" fmla="val 50000"/>
          </a:avLst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1270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kern="1200" dirty="0" smtClean="0">
              <a:solidFill>
                <a:schemeClr val="tx1"/>
              </a:solidFill>
            </a:rPr>
            <a:t>Score 0.155</a:t>
          </a:r>
          <a:endParaRPr lang="en-US" sz="1000" b="0" kern="1200" dirty="0">
            <a:solidFill>
              <a:schemeClr val="tx1"/>
            </a:solidFill>
          </a:endParaRPr>
        </a:p>
      </dsp:txBody>
      <dsp:txXfrm>
        <a:off x="9869631" y="2593776"/>
        <a:ext cx="836357" cy="1049758"/>
      </dsp:txXfrm>
    </dsp:sp>
    <dsp:sp modelId="{83E0E041-EADF-49C3-8422-DDB5EF78515E}">
      <dsp:nvSpPr>
        <dsp:cNvPr id="0" name=""/>
        <dsp:cNvSpPr/>
      </dsp:nvSpPr>
      <dsp:spPr>
        <a:xfrm>
          <a:off x="9011829" y="2689754"/>
          <a:ext cx="857802" cy="85780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kern="1200" dirty="0" smtClean="0">
              <a:solidFill>
                <a:schemeClr val="tx1"/>
              </a:solidFill>
            </a:rPr>
            <a:t>G-Mean</a:t>
          </a:r>
          <a:endParaRPr lang="en-US" sz="1000" b="0" kern="1200" dirty="0">
            <a:solidFill>
              <a:schemeClr val="tx1"/>
            </a:solidFill>
          </a:endParaRPr>
        </a:p>
      </dsp:txBody>
      <dsp:txXfrm>
        <a:off x="9137451" y="2815376"/>
        <a:ext cx="606558" cy="60655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72D22F-B9FE-4C2B-8386-596813A2AD08}">
      <dsp:nvSpPr>
        <dsp:cNvPr id="0" name=""/>
        <dsp:cNvSpPr/>
      </dsp:nvSpPr>
      <dsp:spPr>
        <a:xfrm>
          <a:off x="0" y="4390014"/>
          <a:ext cx="5688632" cy="576187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Explore Alternative Approaches</a:t>
          </a:r>
          <a:endParaRPr lang="en-US" sz="2400" kern="1200" dirty="0"/>
        </a:p>
      </dsp:txBody>
      <dsp:txXfrm>
        <a:off x="0" y="4390014"/>
        <a:ext cx="5688632" cy="311141"/>
      </dsp:txXfrm>
    </dsp:sp>
    <dsp:sp modelId="{9AF9E7AA-498E-4572-A3A4-BDE0796D160F}">
      <dsp:nvSpPr>
        <dsp:cNvPr id="0" name=""/>
        <dsp:cNvSpPr/>
      </dsp:nvSpPr>
      <dsp:spPr>
        <a:xfrm>
          <a:off x="0" y="4689631"/>
          <a:ext cx="2844316" cy="265046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nomaly Detections</a:t>
          </a:r>
          <a:endParaRPr lang="en-US" sz="1600" kern="1200" dirty="0"/>
        </a:p>
      </dsp:txBody>
      <dsp:txXfrm>
        <a:off x="0" y="4689631"/>
        <a:ext cx="2844316" cy="265046"/>
      </dsp:txXfrm>
    </dsp:sp>
    <dsp:sp modelId="{B170381A-54EA-491B-84ED-F3BBF11974E8}">
      <dsp:nvSpPr>
        <dsp:cNvPr id="0" name=""/>
        <dsp:cNvSpPr/>
      </dsp:nvSpPr>
      <dsp:spPr>
        <a:xfrm>
          <a:off x="2844316" y="4689631"/>
          <a:ext cx="2844316" cy="265046"/>
        </a:xfrm>
        <a:prstGeom prst="rect">
          <a:avLst/>
        </a:prstGeom>
        <a:solidFill>
          <a:schemeClr val="accent2">
            <a:tint val="40000"/>
            <a:alpha val="90000"/>
            <a:hueOff val="-1894183"/>
            <a:satOff val="2514"/>
            <a:lumOff val="326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-1894183"/>
              <a:satOff val="2514"/>
              <a:lumOff val="326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Time Series Analysis</a:t>
          </a:r>
          <a:endParaRPr lang="en-US" sz="1600" kern="1200" dirty="0"/>
        </a:p>
      </dsp:txBody>
      <dsp:txXfrm>
        <a:off x="2844316" y="4689631"/>
        <a:ext cx="2844316" cy="265046"/>
      </dsp:txXfrm>
    </dsp:sp>
    <dsp:sp modelId="{D6A48C66-8212-4FEA-93AD-8010A8ACCB98}">
      <dsp:nvSpPr>
        <dsp:cNvPr id="0" name=""/>
        <dsp:cNvSpPr/>
      </dsp:nvSpPr>
      <dsp:spPr>
        <a:xfrm rot="10800000">
          <a:off x="0" y="3512481"/>
          <a:ext cx="5688632" cy="886175"/>
        </a:xfrm>
        <a:prstGeom prst="upArrowCallout">
          <a:avLst/>
        </a:prstGeom>
        <a:gradFill rotWithShape="0">
          <a:gsLst>
            <a:gs pos="0">
              <a:schemeClr val="accent2">
                <a:hueOff val="-2241017"/>
                <a:satOff val="3735"/>
                <a:lumOff val="1490"/>
                <a:alphaOff val="0"/>
                <a:shade val="51000"/>
                <a:satMod val="130000"/>
              </a:schemeClr>
            </a:gs>
            <a:gs pos="80000">
              <a:schemeClr val="accent2">
                <a:hueOff val="-2241017"/>
                <a:satOff val="3735"/>
                <a:lumOff val="1490"/>
                <a:alphaOff val="0"/>
                <a:shade val="93000"/>
                <a:satMod val="130000"/>
              </a:schemeClr>
            </a:gs>
            <a:gs pos="100000">
              <a:schemeClr val="accent2">
                <a:hueOff val="-2241017"/>
                <a:satOff val="3735"/>
                <a:lumOff val="149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Hyperparameters Tuning</a:t>
          </a:r>
          <a:endParaRPr lang="en-US" sz="2400" kern="1200" dirty="0"/>
        </a:p>
      </dsp:txBody>
      <dsp:txXfrm rot="-10800000">
        <a:off x="0" y="3512481"/>
        <a:ext cx="5688632" cy="311047"/>
      </dsp:txXfrm>
    </dsp:sp>
    <dsp:sp modelId="{DAF57B2B-7884-481A-8761-BED03939D681}">
      <dsp:nvSpPr>
        <dsp:cNvPr id="0" name=""/>
        <dsp:cNvSpPr/>
      </dsp:nvSpPr>
      <dsp:spPr>
        <a:xfrm>
          <a:off x="0" y="3823529"/>
          <a:ext cx="5688632" cy="264966"/>
        </a:xfrm>
        <a:prstGeom prst="rect">
          <a:avLst/>
        </a:prstGeom>
        <a:solidFill>
          <a:schemeClr val="accent2">
            <a:tint val="40000"/>
            <a:alpha val="90000"/>
            <a:hueOff val="-3788366"/>
            <a:satOff val="5029"/>
            <a:lumOff val="652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-3788366"/>
              <a:satOff val="5029"/>
              <a:lumOff val="652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Evaluate Different Techniques</a:t>
          </a:r>
          <a:endParaRPr lang="en-US" sz="1600" kern="1200" dirty="0"/>
        </a:p>
      </dsp:txBody>
      <dsp:txXfrm>
        <a:off x="0" y="3823529"/>
        <a:ext cx="5688632" cy="264966"/>
      </dsp:txXfrm>
    </dsp:sp>
    <dsp:sp modelId="{AA211170-78E7-428C-9BEA-832724EE10FC}">
      <dsp:nvSpPr>
        <dsp:cNvPr id="0" name=""/>
        <dsp:cNvSpPr/>
      </dsp:nvSpPr>
      <dsp:spPr>
        <a:xfrm rot="10800000">
          <a:off x="0" y="2594619"/>
          <a:ext cx="5688632" cy="886175"/>
        </a:xfrm>
        <a:prstGeom prst="upArrowCallout">
          <a:avLst/>
        </a:prstGeom>
        <a:gradFill rotWithShape="0">
          <a:gsLst>
            <a:gs pos="0">
              <a:schemeClr val="accent2">
                <a:hueOff val="-4482033"/>
                <a:satOff val="7469"/>
                <a:lumOff val="2980"/>
                <a:alphaOff val="0"/>
                <a:shade val="51000"/>
                <a:satMod val="130000"/>
              </a:schemeClr>
            </a:gs>
            <a:gs pos="80000">
              <a:schemeClr val="accent2">
                <a:hueOff val="-4482033"/>
                <a:satOff val="7469"/>
                <a:lumOff val="2980"/>
                <a:alphaOff val="0"/>
                <a:shade val="93000"/>
                <a:satMod val="130000"/>
              </a:schemeClr>
            </a:gs>
            <a:gs pos="100000">
              <a:schemeClr val="accent2">
                <a:hueOff val="-4482033"/>
                <a:satOff val="7469"/>
                <a:lumOff val="298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upervised Classification Model</a:t>
          </a:r>
          <a:endParaRPr lang="en-US" sz="2400" kern="1200" dirty="0"/>
        </a:p>
      </dsp:txBody>
      <dsp:txXfrm rot="-10800000">
        <a:off x="0" y="2594619"/>
        <a:ext cx="5688632" cy="311047"/>
      </dsp:txXfrm>
    </dsp:sp>
    <dsp:sp modelId="{A5796A4D-9F72-46C8-A865-F19E1CA29942}">
      <dsp:nvSpPr>
        <dsp:cNvPr id="0" name=""/>
        <dsp:cNvSpPr/>
      </dsp:nvSpPr>
      <dsp:spPr>
        <a:xfrm>
          <a:off x="0" y="2945996"/>
          <a:ext cx="5688632" cy="264966"/>
        </a:xfrm>
        <a:prstGeom prst="rect">
          <a:avLst/>
        </a:prstGeom>
        <a:solidFill>
          <a:schemeClr val="accent2">
            <a:tint val="40000"/>
            <a:alpha val="90000"/>
            <a:hueOff val="-5682549"/>
            <a:satOff val="7543"/>
            <a:lumOff val="978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-5682549"/>
              <a:satOff val="7543"/>
              <a:lumOff val="97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Evaluate Two Class Models</a:t>
          </a:r>
          <a:endParaRPr lang="en-US" sz="1600" kern="1200" dirty="0"/>
        </a:p>
      </dsp:txBody>
      <dsp:txXfrm>
        <a:off x="0" y="2945996"/>
        <a:ext cx="5688632" cy="264966"/>
      </dsp:txXfrm>
    </dsp:sp>
    <dsp:sp modelId="{57A97F76-3B85-4F95-9EB6-27510BC36B08}">
      <dsp:nvSpPr>
        <dsp:cNvPr id="0" name=""/>
        <dsp:cNvSpPr/>
      </dsp:nvSpPr>
      <dsp:spPr>
        <a:xfrm rot="10800000">
          <a:off x="0" y="1757416"/>
          <a:ext cx="5688632" cy="886175"/>
        </a:xfrm>
        <a:prstGeom prst="upArrowCallout">
          <a:avLst/>
        </a:prstGeom>
        <a:gradFill rotWithShape="0">
          <a:gsLst>
            <a:gs pos="0">
              <a:schemeClr val="accent2">
                <a:hueOff val="-6723050"/>
                <a:satOff val="11204"/>
                <a:lumOff val="4470"/>
                <a:alphaOff val="0"/>
                <a:shade val="51000"/>
                <a:satMod val="130000"/>
              </a:schemeClr>
            </a:gs>
            <a:gs pos="80000">
              <a:schemeClr val="accent2">
                <a:hueOff val="-6723050"/>
                <a:satOff val="11204"/>
                <a:lumOff val="4470"/>
                <a:alphaOff val="0"/>
                <a:shade val="93000"/>
                <a:satMod val="130000"/>
              </a:schemeClr>
            </a:gs>
            <a:gs pos="100000">
              <a:schemeClr val="accent2">
                <a:hueOff val="-6723050"/>
                <a:satOff val="11204"/>
                <a:lumOff val="447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MOTE</a:t>
          </a:r>
          <a:endParaRPr lang="en-US" sz="2400" kern="1200" dirty="0"/>
        </a:p>
      </dsp:txBody>
      <dsp:txXfrm rot="-10800000">
        <a:off x="0" y="1757416"/>
        <a:ext cx="5688632" cy="311047"/>
      </dsp:txXfrm>
    </dsp:sp>
    <dsp:sp modelId="{F9E087F9-22DD-4FB8-A47A-10C40F1DB4F4}">
      <dsp:nvSpPr>
        <dsp:cNvPr id="0" name=""/>
        <dsp:cNvSpPr/>
      </dsp:nvSpPr>
      <dsp:spPr>
        <a:xfrm>
          <a:off x="0" y="2068463"/>
          <a:ext cx="5688632" cy="264966"/>
        </a:xfrm>
        <a:prstGeom prst="rect">
          <a:avLst/>
        </a:prstGeom>
        <a:solidFill>
          <a:schemeClr val="accent2">
            <a:tint val="40000"/>
            <a:alpha val="90000"/>
            <a:hueOff val="-7576732"/>
            <a:satOff val="10057"/>
            <a:lumOff val="1305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-7576732"/>
              <a:satOff val="10057"/>
              <a:lumOff val="130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ddress Imbalanced Data</a:t>
          </a:r>
          <a:endParaRPr lang="en-US" sz="1600" kern="1200" dirty="0"/>
        </a:p>
      </dsp:txBody>
      <dsp:txXfrm>
        <a:off x="0" y="2068463"/>
        <a:ext cx="5688632" cy="264966"/>
      </dsp:txXfrm>
    </dsp:sp>
    <dsp:sp modelId="{E4B13658-E7D0-4040-9D78-738F0A45DD0B}">
      <dsp:nvSpPr>
        <dsp:cNvPr id="0" name=""/>
        <dsp:cNvSpPr/>
      </dsp:nvSpPr>
      <dsp:spPr>
        <a:xfrm rot="10800000">
          <a:off x="0" y="879883"/>
          <a:ext cx="5688632" cy="886175"/>
        </a:xfrm>
        <a:prstGeom prst="upArrowCallout">
          <a:avLst/>
        </a:prstGeom>
        <a:gradFill rotWithShape="0">
          <a:gsLst>
            <a:gs pos="0">
              <a:schemeClr val="accent2">
                <a:hueOff val="-8964066"/>
                <a:satOff val="14938"/>
                <a:lumOff val="5960"/>
                <a:alphaOff val="0"/>
                <a:shade val="51000"/>
                <a:satMod val="130000"/>
              </a:schemeClr>
            </a:gs>
            <a:gs pos="80000">
              <a:schemeClr val="accent2">
                <a:hueOff val="-8964066"/>
                <a:satOff val="14938"/>
                <a:lumOff val="5960"/>
                <a:alphaOff val="0"/>
                <a:shade val="93000"/>
                <a:satMod val="130000"/>
              </a:schemeClr>
            </a:gs>
            <a:gs pos="100000">
              <a:schemeClr val="accent2">
                <a:hueOff val="-8964066"/>
                <a:satOff val="14938"/>
                <a:lumOff val="596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tratified Split</a:t>
          </a:r>
          <a:endParaRPr lang="en-US" sz="2400" kern="1200" dirty="0"/>
        </a:p>
      </dsp:txBody>
      <dsp:txXfrm rot="-10800000">
        <a:off x="0" y="879883"/>
        <a:ext cx="5688632" cy="311047"/>
      </dsp:txXfrm>
    </dsp:sp>
    <dsp:sp modelId="{AFEDE35C-E80A-4744-A2C7-79E15270F50F}">
      <dsp:nvSpPr>
        <dsp:cNvPr id="0" name=""/>
        <dsp:cNvSpPr/>
      </dsp:nvSpPr>
      <dsp:spPr>
        <a:xfrm>
          <a:off x="0" y="1190930"/>
          <a:ext cx="5688632" cy="264966"/>
        </a:xfrm>
        <a:prstGeom prst="rect">
          <a:avLst/>
        </a:prstGeom>
        <a:solidFill>
          <a:schemeClr val="accent2">
            <a:tint val="40000"/>
            <a:alpha val="90000"/>
            <a:hueOff val="-9470914"/>
            <a:satOff val="12572"/>
            <a:lumOff val="1631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-9470914"/>
              <a:satOff val="12572"/>
              <a:lumOff val="1631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Train and Test Dataset proportional</a:t>
          </a:r>
          <a:endParaRPr lang="en-US" sz="1600" kern="1200" dirty="0"/>
        </a:p>
      </dsp:txBody>
      <dsp:txXfrm>
        <a:off x="0" y="1190930"/>
        <a:ext cx="5688632" cy="264966"/>
      </dsp:txXfrm>
    </dsp:sp>
    <dsp:sp modelId="{357BBD2C-D7F2-4EF1-970B-A3A0269079D5}">
      <dsp:nvSpPr>
        <dsp:cNvPr id="0" name=""/>
        <dsp:cNvSpPr/>
      </dsp:nvSpPr>
      <dsp:spPr>
        <a:xfrm rot="10800000">
          <a:off x="0" y="2350"/>
          <a:ext cx="5688632" cy="886175"/>
        </a:xfrm>
        <a:prstGeom prst="upArrowCallout">
          <a:avLst/>
        </a:prstGeom>
        <a:gradFill rotWithShape="0">
          <a:gsLst>
            <a:gs pos="0">
              <a:schemeClr val="accent2">
                <a:hueOff val="-11205083"/>
                <a:satOff val="18673"/>
                <a:lumOff val="7450"/>
                <a:alphaOff val="0"/>
                <a:shade val="51000"/>
                <a:satMod val="130000"/>
              </a:schemeClr>
            </a:gs>
            <a:gs pos="80000">
              <a:schemeClr val="accent2">
                <a:hueOff val="-11205083"/>
                <a:satOff val="18673"/>
                <a:lumOff val="7450"/>
                <a:alphaOff val="0"/>
                <a:shade val="93000"/>
                <a:satMod val="130000"/>
              </a:schemeClr>
            </a:gs>
            <a:gs pos="100000">
              <a:schemeClr val="accent2">
                <a:hueOff val="-11205083"/>
                <a:satOff val="18673"/>
                <a:lumOff val="745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Pre-Facto Post-Facto</a:t>
          </a:r>
          <a:endParaRPr lang="en-US" sz="2400" kern="1200" dirty="0"/>
        </a:p>
      </dsp:txBody>
      <dsp:txXfrm rot="-10800000">
        <a:off x="0" y="2350"/>
        <a:ext cx="5688632" cy="311047"/>
      </dsp:txXfrm>
    </dsp:sp>
    <dsp:sp modelId="{E1ACB216-E3D1-44DE-B08C-AAAF3DEF973F}">
      <dsp:nvSpPr>
        <dsp:cNvPr id="0" name=""/>
        <dsp:cNvSpPr/>
      </dsp:nvSpPr>
      <dsp:spPr>
        <a:xfrm>
          <a:off x="0" y="313397"/>
          <a:ext cx="5688632" cy="264966"/>
        </a:xfrm>
        <a:prstGeom prst="rect">
          <a:avLst/>
        </a:prstGeom>
        <a:solidFill>
          <a:schemeClr val="accent2">
            <a:tint val="40000"/>
            <a:alpha val="90000"/>
            <a:hueOff val="-11365097"/>
            <a:satOff val="15086"/>
            <a:lumOff val="1957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-11365097"/>
              <a:satOff val="15086"/>
              <a:lumOff val="1957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elect Correct Features </a:t>
          </a:r>
          <a:endParaRPr lang="en-US" sz="1600" kern="1200" dirty="0"/>
        </a:p>
      </dsp:txBody>
      <dsp:txXfrm>
        <a:off x="0" y="313397"/>
        <a:ext cx="5688632" cy="26496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5F6FFB-6C04-4182-A0C8-A45419143A64}">
      <dsp:nvSpPr>
        <dsp:cNvPr id="0" name=""/>
        <dsp:cNvSpPr/>
      </dsp:nvSpPr>
      <dsp:spPr>
        <a:xfrm>
          <a:off x="1161" y="2351017"/>
          <a:ext cx="1425394" cy="11756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Select Correct Features </a:t>
          </a:r>
          <a:endParaRPr lang="en-US" sz="1400" kern="1200" dirty="0"/>
        </a:p>
      </dsp:txBody>
      <dsp:txXfrm>
        <a:off x="28216" y="2378072"/>
        <a:ext cx="1371284" cy="869616"/>
      </dsp:txXfrm>
    </dsp:sp>
    <dsp:sp modelId="{5EE5CDA7-8567-4B86-8E14-3CA05C8BEE08}">
      <dsp:nvSpPr>
        <dsp:cNvPr id="0" name=""/>
        <dsp:cNvSpPr/>
      </dsp:nvSpPr>
      <dsp:spPr>
        <a:xfrm>
          <a:off x="808267" y="2652828"/>
          <a:ext cx="1539728" cy="1539728"/>
        </a:xfrm>
        <a:prstGeom prst="leftCircularArrow">
          <a:avLst>
            <a:gd name="adj1" fmla="val 2947"/>
            <a:gd name="adj2" fmla="val 360847"/>
            <a:gd name="adj3" fmla="val 2136358"/>
            <a:gd name="adj4" fmla="val 9024489"/>
            <a:gd name="adj5" fmla="val 3438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3314E8B-4235-45C1-94E0-3B4E61B11363}">
      <dsp:nvSpPr>
        <dsp:cNvPr id="0" name=""/>
        <dsp:cNvSpPr/>
      </dsp:nvSpPr>
      <dsp:spPr>
        <a:xfrm>
          <a:off x="317915" y="3274743"/>
          <a:ext cx="1267016" cy="50385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Pre-Facto Post-Facto</a:t>
          </a:r>
          <a:endParaRPr lang="en-US" sz="1100" kern="1200" dirty="0"/>
        </a:p>
      </dsp:txBody>
      <dsp:txXfrm>
        <a:off x="332672" y="3289500"/>
        <a:ext cx="1237502" cy="474336"/>
      </dsp:txXfrm>
    </dsp:sp>
    <dsp:sp modelId="{54C35E25-29E3-4443-BCE4-3641C6A12634}">
      <dsp:nvSpPr>
        <dsp:cNvPr id="0" name=""/>
        <dsp:cNvSpPr/>
      </dsp:nvSpPr>
      <dsp:spPr>
        <a:xfrm>
          <a:off x="1800977" y="2351017"/>
          <a:ext cx="1425394" cy="11756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-597626"/>
              <a:satOff val="8864"/>
              <a:lumOff val="196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Train and Test Dataset proportional</a:t>
          </a:r>
          <a:endParaRPr lang="en-US" sz="1400" kern="1200" dirty="0"/>
        </a:p>
      </dsp:txBody>
      <dsp:txXfrm>
        <a:off x="1828032" y="2629997"/>
        <a:ext cx="1371284" cy="869616"/>
      </dsp:txXfrm>
    </dsp:sp>
    <dsp:sp modelId="{82056805-8BAB-4C32-A94F-98DCC766F3B6}">
      <dsp:nvSpPr>
        <dsp:cNvPr id="0" name=""/>
        <dsp:cNvSpPr/>
      </dsp:nvSpPr>
      <dsp:spPr>
        <a:xfrm>
          <a:off x="2596206" y="1639032"/>
          <a:ext cx="1721861" cy="1721861"/>
        </a:xfrm>
        <a:prstGeom prst="circularArrow">
          <a:avLst>
            <a:gd name="adj1" fmla="val 2635"/>
            <a:gd name="adj2" fmla="val 320335"/>
            <a:gd name="adj3" fmla="val 19504154"/>
            <a:gd name="adj4" fmla="val 12575511"/>
            <a:gd name="adj5" fmla="val 3074"/>
          </a:avLst>
        </a:prstGeom>
        <a:gradFill rotWithShape="0">
          <a:gsLst>
            <a:gs pos="0">
              <a:schemeClr val="accent4">
                <a:hueOff val="-747032"/>
                <a:satOff val="11079"/>
                <a:lumOff val="245"/>
                <a:alphaOff val="0"/>
                <a:shade val="51000"/>
                <a:satMod val="130000"/>
              </a:schemeClr>
            </a:gs>
            <a:gs pos="80000">
              <a:schemeClr val="accent4">
                <a:hueOff val="-747032"/>
                <a:satOff val="11079"/>
                <a:lumOff val="245"/>
                <a:alphaOff val="0"/>
                <a:shade val="93000"/>
                <a:satMod val="130000"/>
              </a:schemeClr>
            </a:gs>
            <a:gs pos="100000">
              <a:schemeClr val="accent4">
                <a:hueOff val="-747032"/>
                <a:satOff val="11079"/>
                <a:lumOff val="24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5BBF223-17DA-43D6-99D5-AAA82F468103}">
      <dsp:nvSpPr>
        <dsp:cNvPr id="0" name=""/>
        <dsp:cNvSpPr/>
      </dsp:nvSpPr>
      <dsp:spPr>
        <a:xfrm>
          <a:off x="2117732" y="2099091"/>
          <a:ext cx="1267016" cy="50385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-597626"/>
                <a:satOff val="8864"/>
                <a:lumOff val="196"/>
                <a:alphaOff val="0"/>
                <a:shade val="51000"/>
                <a:satMod val="130000"/>
              </a:schemeClr>
            </a:gs>
            <a:gs pos="80000">
              <a:schemeClr val="accent4">
                <a:hueOff val="-597626"/>
                <a:satOff val="8864"/>
                <a:lumOff val="196"/>
                <a:alphaOff val="0"/>
                <a:shade val="93000"/>
                <a:satMod val="130000"/>
              </a:schemeClr>
            </a:gs>
            <a:gs pos="100000">
              <a:schemeClr val="accent4">
                <a:hueOff val="-597626"/>
                <a:satOff val="8864"/>
                <a:lumOff val="19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tratified Split</a:t>
          </a:r>
          <a:endParaRPr lang="en-US" sz="1100" kern="1200" dirty="0"/>
        </a:p>
      </dsp:txBody>
      <dsp:txXfrm>
        <a:off x="2132489" y="2113848"/>
        <a:ext cx="1237502" cy="474336"/>
      </dsp:txXfrm>
    </dsp:sp>
    <dsp:sp modelId="{79B74401-D71D-4F92-B91A-8992A2138FA5}">
      <dsp:nvSpPr>
        <dsp:cNvPr id="0" name=""/>
        <dsp:cNvSpPr/>
      </dsp:nvSpPr>
      <dsp:spPr>
        <a:xfrm>
          <a:off x="3600794" y="2351017"/>
          <a:ext cx="1425394" cy="11756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-1195252"/>
              <a:satOff val="17727"/>
              <a:lumOff val="392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Address Imbalanced Data</a:t>
          </a:r>
          <a:endParaRPr lang="en-US" sz="1400" kern="1200" dirty="0"/>
        </a:p>
      </dsp:txBody>
      <dsp:txXfrm>
        <a:off x="3627849" y="2378072"/>
        <a:ext cx="1371284" cy="869616"/>
      </dsp:txXfrm>
    </dsp:sp>
    <dsp:sp modelId="{C99AEBF5-476D-4A1E-B24B-A552A8AFF4BD}">
      <dsp:nvSpPr>
        <dsp:cNvPr id="0" name=""/>
        <dsp:cNvSpPr/>
      </dsp:nvSpPr>
      <dsp:spPr>
        <a:xfrm>
          <a:off x="4407900" y="2652828"/>
          <a:ext cx="1539728" cy="1539728"/>
        </a:xfrm>
        <a:prstGeom prst="leftCircularArrow">
          <a:avLst>
            <a:gd name="adj1" fmla="val 2947"/>
            <a:gd name="adj2" fmla="val 360847"/>
            <a:gd name="adj3" fmla="val 2136358"/>
            <a:gd name="adj4" fmla="val 9024489"/>
            <a:gd name="adj5" fmla="val 3438"/>
          </a:avLst>
        </a:prstGeom>
        <a:gradFill rotWithShape="0">
          <a:gsLst>
            <a:gs pos="0">
              <a:schemeClr val="accent4">
                <a:hueOff val="-1494065"/>
                <a:satOff val="22159"/>
                <a:lumOff val="491"/>
                <a:alphaOff val="0"/>
                <a:shade val="51000"/>
                <a:satMod val="130000"/>
              </a:schemeClr>
            </a:gs>
            <a:gs pos="80000">
              <a:schemeClr val="accent4">
                <a:hueOff val="-1494065"/>
                <a:satOff val="22159"/>
                <a:lumOff val="491"/>
                <a:alphaOff val="0"/>
                <a:shade val="93000"/>
                <a:satMod val="130000"/>
              </a:schemeClr>
            </a:gs>
            <a:gs pos="100000">
              <a:schemeClr val="accent4">
                <a:hueOff val="-1494065"/>
                <a:satOff val="22159"/>
                <a:lumOff val="49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8A2E77A-374B-40AD-899F-08CB476CBF59}">
      <dsp:nvSpPr>
        <dsp:cNvPr id="0" name=""/>
        <dsp:cNvSpPr/>
      </dsp:nvSpPr>
      <dsp:spPr>
        <a:xfrm>
          <a:off x="3917548" y="3274743"/>
          <a:ext cx="1267016" cy="50385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-1195252"/>
                <a:satOff val="17727"/>
                <a:lumOff val="392"/>
                <a:alphaOff val="0"/>
                <a:shade val="51000"/>
                <a:satMod val="130000"/>
              </a:schemeClr>
            </a:gs>
            <a:gs pos="80000">
              <a:schemeClr val="accent4">
                <a:hueOff val="-1195252"/>
                <a:satOff val="17727"/>
                <a:lumOff val="392"/>
                <a:alphaOff val="0"/>
                <a:shade val="93000"/>
                <a:satMod val="130000"/>
              </a:schemeClr>
            </a:gs>
            <a:gs pos="100000">
              <a:schemeClr val="accent4">
                <a:hueOff val="-1195252"/>
                <a:satOff val="17727"/>
                <a:lumOff val="39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MOTE</a:t>
          </a:r>
          <a:endParaRPr lang="en-US" sz="1100" kern="1200" dirty="0"/>
        </a:p>
      </dsp:txBody>
      <dsp:txXfrm>
        <a:off x="3932305" y="3289500"/>
        <a:ext cx="1237502" cy="474336"/>
      </dsp:txXfrm>
    </dsp:sp>
    <dsp:sp modelId="{3995C29C-81D4-4648-9244-285E41967477}">
      <dsp:nvSpPr>
        <dsp:cNvPr id="0" name=""/>
        <dsp:cNvSpPr/>
      </dsp:nvSpPr>
      <dsp:spPr>
        <a:xfrm>
          <a:off x="5400610" y="2351017"/>
          <a:ext cx="1425394" cy="11756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-1792878"/>
              <a:satOff val="26591"/>
              <a:lumOff val="589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Evaluate Two Class Models</a:t>
          </a:r>
          <a:endParaRPr lang="en-US" sz="1400" kern="1200" dirty="0"/>
        </a:p>
      </dsp:txBody>
      <dsp:txXfrm>
        <a:off x="5427665" y="2629997"/>
        <a:ext cx="1371284" cy="869616"/>
      </dsp:txXfrm>
    </dsp:sp>
    <dsp:sp modelId="{F529054D-73CB-4968-942D-6B430C2CFF3C}">
      <dsp:nvSpPr>
        <dsp:cNvPr id="0" name=""/>
        <dsp:cNvSpPr/>
      </dsp:nvSpPr>
      <dsp:spPr>
        <a:xfrm>
          <a:off x="6195838" y="1639032"/>
          <a:ext cx="1721861" cy="1721861"/>
        </a:xfrm>
        <a:prstGeom prst="circularArrow">
          <a:avLst>
            <a:gd name="adj1" fmla="val 2635"/>
            <a:gd name="adj2" fmla="val 320335"/>
            <a:gd name="adj3" fmla="val 19504154"/>
            <a:gd name="adj4" fmla="val 12575511"/>
            <a:gd name="adj5" fmla="val 3074"/>
          </a:avLst>
        </a:prstGeom>
        <a:gradFill rotWithShape="0">
          <a:gsLst>
            <a:gs pos="0">
              <a:schemeClr val="accent4">
                <a:hueOff val="-2241097"/>
                <a:satOff val="33239"/>
                <a:lumOff val="736"/>
                <a:alphaOff val="0"/>
                <a:shade val="51000"/>
                <a:satMod val="130000"/>
              </a:schemeClr>
            </a:gs>
            <a:gs pos="80000">
              <a:schemeClr val="accent4">
                <a:hueOff val="-2241097"/>
                <a:satOff val="33239"/>
                <a:lumOff val="736"/>
                <a:alphaOff val="0"/>
                <a:shade val="93000"/>
                <a:satMod val="130000"/>
              </a:schemeClr>
            </a:gs>
            <a:gs pos="100000">
              <a:schemeClr val="accent4">
                <a:hueOff val="-2241097"/>
                <a:satOff val="33239"/>
                <a:lumOff val="73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9C67194-3914-4309-A0A4-52630894D727}">
      <dsp:nvSpPr>
        <dsp:cNvPr id="0" name=""/>
        <dsp:cNvSpPr/>
      </dsp:nvSpPr>
      <dsp:spPr>
        <a:xfrm>
          <a:off x="5717364" y="2099091"/>
          <a:ext cx="1267016" cy="50385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-1792878"/>
                <a:satOff val="26591"/>
                <a:lumOff val="589"/>
                <a:alphaOff val="0"/>
                <a:shade val="51000"/>
                <a:satMod val="130000"/>
              </a:schemeClr>
            </a:gs>
            <a:gs pos="80000">
              <a:schemeClr val="accent4">
                <a:hueOff val="-1792878"/>
                <a:satOff val="26591"/>
                <a:lumOff val="589"/>
                <a:alphaOff val="0"/>
                <a:shade val="93000"/>
                <a:satMod val="130000"/>
              </a:schemeClr>
            </a:gs>
            <a:gs pos="100000">
              <a:schemeClr val="accent4">
                <a:hueOff val="-1792878"/>
                <a:satOff val="26591"/>
                <a:lumOff val="58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upervised Classification Model</a:t>
          </a:r>
          <a:endParaRPr lang="en-US" sz="1100" kern="1200" dirty="0"/>
        </a:p>
      </dsp:txBody>
      <dsp:txXfrm>
        <a:off x="5732121" y="2113848"/>
        <a:ext cx="1237502" cy="474336"/>
      </dsp:txXfrm>
    </dsp:sp>
    <dsp:sp modelId="{6DC9238F-C922-4BC0-9DF0-137CF55C4F4F}">
      <dsp:nvSpPr>
        <dsp:cNvPr id="0" name=""/>
        <dsp:cNvSpPr/>
      </dsp:nvSpPr>
      <dsp:spPr>
        <a:xfrm>
          <a:off x="7200426" y="2351017"/>
          <a:ext cx="1425394" cy="11756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-2390503"/>
              <a:satOff val="35454"/>
              <a:lumOff val="78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Evaluate Different Techniques</a:t>
          </a:r>
          <a:endParaRPr lang="en-US" sz="1400" kern="1200" dirty="0"/>
        </a:p>
      </dsp:txBody>
      <dsp:txXfrm>
        <a:off x="7227481" y="2378072"/>
        <a:ext cx="1371284" cy="869616"/>
      </dsp:txXfrm>
    </dsp:sp>
    <dsp:sp modelId="{3FA4BF05-D145-4D52-AA95-D582B21D8BEE}">
      <dsp:nvSpPr>
        <dsp:cNvPr id="0" name=""/>
        <dsp:cNvSpPr/>
      </dsp:nvSpPr>
      <dsp:spPr>
        <a:xfrm>
          <a:off x="8007533" y="2652828"/>
          <a:ext cx="1539728" cy="1539728"/>
        </a:xfrm>
        <a:prstGeom prst="leftCircularArrow">
          <a:avLst>
            <a:gd name="adj1" fmla="val 2947"/>
            <a:gd name="adj2" fmla="val 360847"/>
            <a:gd name="adj3" fmla="val 2136358"/>
            <a:gd name="adj4" fmla="val 9024489"/>
            <a:gd name="adj5" fmla="val 3438"/>
          </a:avLst>
        </a:prstGeom>
        <a:gradFill rotWithShape="0">
          <a:gsLst>
            <a:gs pos="0">
              <a:schemeClr val="accent4">
                <a:hueOff val="-2988129"/>
                <a:satOff val="44318"/>
                <a:lumOff val="981"/>
                <a:alphaOff val="0"/>
                <a:shade val="51000"/>
                <a:satMod val="130000"/>
              </a:schemeClr>
            </a:gs>
            <a:gs pos="80000">
              <a:schemeClr val="accent4">
                <a:hueOff val="-2988129"/>
                <a:satOff val="44318"/>
                <a:lumOff val="981"/>
                <a:alphaOff val="0"/>
                <a:shade val="93000"/>
                <a:satMod val="130000"/>
              </a:schemeClr>
            </a:gs>
            <a:gs pos="100000">
              <a:schemeClr val="accent4">
                <a:hueOff val="-2988129"/>
                <a:satOff val="44318"/>
                <a:lumOff val="98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05402C4-C598-47B2-A9A8-FA2B9173ED8B}">
      <dsp:nvSpPr>
        <dsp:cNvPr id="0" name=""/>
        <dsp:cNvSpPr/>
      </dsp:nvSpPr>
      <dsp:spPr>
        <a:xfrm>
          <a:off x="7517181" y="3274743"/>
          <a:ext cx="1267016" cy="50385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-2390503"/>
                <a:satOff val="35454"/>
                <a:lumOff val="785"/>
                <a:alphaOff val="0"/>
                <a:shade val="51000"/>
                <a:satMod val="130000"/>
              </a:schemeClr>
            </a:gs>
            <a:gs pos="80000">
              <a:schemeClr val="accent4">
                <a:hueOff val="-2390503"/>
                <a:satOff val="35454"/>
                <a:lumOff val="785"/>
                <a:alphaOff val="0"/>
                <a:shade val="93000"/>
                <a:satMod val="130000"/>
              </a:schemeClr>
            </a:gs>
            <a:gs pos="100000">
              <a:schemeClr val="accent4">
                <a:hueOff val="-2390503"/>
                <a:satOff val="35454"/>
                <a:lumOff val="78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Hyperparameters Tuning</a:t>
          </a:r>
          <a:endParaRPr lang="en-US" sz="1100" kern="1200" dirty="0"/>
        </a:p>
      </dsp:txBody>
      <dsp:txXfrm>
        <a:off x="7531938" y="3289500"/>
        <a:ext cx="1237502" cy="474336"/>
      </dsp:txXfrm>
    </dsp:sp>
    <dsp:sp modelId="{2B948F69-E904-4C7C-A680-D0EAF6F109BA}">
      <dsp:nvSpPr>
        <dsp:cNvPr id="0" name=""/>
        <dsp:cNvSpPr/>
      </dsp:nvSpPr>
      <dsp:spPr>
        <a:xfrm>
          <a:off x="9000243" y="2351017"/>
          <a:ext cx="1425394" cy="11756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-2988129"/>
              <a:satOff val="44318"/>
              <a:lumOff val="981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Anomaly Detections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Time Series Analysis</a:t>
          </a:r>
          <a:endParaRPr lang="en-US" sz="1400" kern="1200" dirty="0"/>
        </a:p>
      </dsp:txBody>
      <dsp:txXfrm>
        <a:off x="9027298" y="2629997"/>
        <a:ext cx="1371284" cy="869616"/>
      </dsp:txXfrm>
    </dsp:sp>
    <dsp:sp modelId="{211B3686-A57C-4535-9704-838B4EC9CF2E}">
      <dsp:nvSpPr>
        <dsp:cNvPr id="0" name=""/>
        <dsp:cNvSpPr/>
      </dsp:nvSpPr>
      <dsp:spPr>
        <a:xfrm>
          <a:off x="9316997" y="2099091"/>
          <a:ext cx="1267016" cy="50385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-2988129"/>
                <a:satOff val="44318"/>
                <a:lumOff val="981"/>
                <a:alphaOff val="0"/>
                <a:shade val="51000"/>
                <a:satMod val="130000"/>
              </a:schemeClr>
            </a:gs>
            <a:gs pos="80000">
              <a:schemeClr val="accent4">
                <a:hueOff val="-2988129"/>
                <a:satOff val="44318"/>
                <a:lumOff val="981"/>
                <a:alphaOff val="0"/>
                <a:shade val="93000"/>
                <a:satMod val="130000"/>
              </a:schemeClr>
            </a:gs>
            <a:gs pos="100000">
              <a:schemeClr val="accent4">
                <a:hueOff val="-2988129"/>
                <a:satOff val="44318"/>
                <a:lumOff val="98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Explore Alternative Approaches</a:t>
          </a:r>
          <a:endParaRPr lang="en-US" sz="1100" kern="1200" dirty="0"/>
        </a:p>
      </dsp:txBody>
      <dsp:txXfrm>
        <a:off x="9331754" y="2113848"/>
        <a:ext cx="1237502" cy="4743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4.png"/><Relationship Id="rId2" Type="http://schemas.openxmlformats.org/officeDocument/2006/relationships/tags" Target="../tags/tag149.xml"/><Relationship Id="rId1" Type="http://schemas.openxmlformats.org/officeDocument/2006/relationships/theme" Target="../theme/theme3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Owner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Doc ID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Vers.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]</a:t>
            </a:r>
          </a:p>
        </p:txBody>
      </p:sp>
      <p:sp>
        <p:nvSpPr>
          <p:cNvPr id="3" name="empower_proprietary_placeholder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</a:t>
            </a: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trictly</a:t>
            </a: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nfidential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10-20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image" Target="../media/image4.png"/><Relationship Id="rId2" Type="http://schemas.openxmlformats.org/officeDocument/2006/relationships/tags" Target="../tags/tag139.xml"/><Relationship Id="rId1" Type="http://schemas.openxmlformats.org/officeDocument/2006/relationships/theme" Target="../theme/theme2.x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0" Type="http://schemas.openxmlformats.org/officeDocument/2006/relationships/tags" Target="../tags/tag147.xml"/><Relationship Id="rId4" Type="http://schemas.openxmlformats.org/officeDocument/2006/relationships/tags" Target="../tags/tag141.xml"/><Relationship Id="rId9" Type="http://schemas.openxmlformats.org/officeDocument/2006/relationships/tags" Target="../tags/tag14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Owner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Doc ID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Vers.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]</a:t>
            </a:r>
          </a:p>
        </p:txBody>
      </p:sp>
      <p:sp>
        <p:nvSpPr>
          <p:cNvPr id="3" name="empower_proprietary_placeholder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</a:t>
            </a: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</p:txBody>
      </p:sp>
      <p:sp>
        <p:nvSpPr>
          <p:cNvPr id="6" name="empower_classification_attention_placeholder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trictly</a:t>
            </a: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nfidential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10-20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6630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4.xml"/><Relationship Id="rId9" Type="http://schemas.openxmlformats.org/officeDocument/2006/relationships/tags" Target="../tags/tag129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jp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jp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3.xml"/><Relationship Id="rId9" Type="http://schemas.openxmlformats.org/officeDocument/2006/relationships/tags" Target="../tags/tag3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1.xml"/><Relationship Id="rId9" Type="http://schemas.openxmlformats.org/officeDocument/2006/relationships/tags" Target="../tags/tag5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IFX_Presentation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B346A59-9889-4A74-811F-F8B2A7A50914}"/>
              </a:ext>
            </a:extLst>
          </p:cNvPr>
          <p:cNvSpPr>
            <a:spLocks/>
          </p:cNvSpPr>
          <p:nvPr userDrawn="1"/>
        </p:nvSpPr>
        <p:spPr bwMode="auto">
          <a:xfrm>
            <a:off x="0" y="71"/>
            <a:ext cx="12193200" cy="5157050"/>
          </a:xfrm>
          <a:custGeom>
            <a:avLst/>
            <a:gdLst>
              <a:gd name="connsiteX0" fmla="*/ 0 w 12193200"/>
              <a:gd name="connsiteY0" fmla="*/ 3366894 h 5157050"/>
              <a:gd name="connsiteX1" fmla="*/ 2568686 w 12193200"/>
              <a:gd name="connsiteY1" fmla="*/ 4457237 h 5157050"/>
              <a:gd name="connsiteX2" fmla="*/ 2562846 w 12193200"/>
              <a:gd name="connsiteY2" fmla="*/ 4486161 h 5157050"/>
              <a:gd name="connsiteX3" fmla="*/ 2638446 w 12193200"/>
              <a:gd name="connsiteY3" fmla="*/ 4561761 h 5157050"/>
              <a:gd name="connsiteX4" fmla="*/ 2647621 w 12193200"/>
              <a:gd name="connsiteY4" fmla="*/ 4559909 h 5157050"/>
              <a:gd name="connsiteX5" fmla="*/ 2722582 w 12193200"/>
              <a:gd name="connsiteY5" fmla="*/ 5033199 h 5157050"/>
              <a:gd name="connsiteX6" fmla="*/ 0 w 12193200"/>
              <a:gd name="connsiteY6" fmla="*/ 5157050 h 5157050"/>
              <a:gd name="connsiteX7" fmla="*/ 9696957 w 12193200"/>
              <a:gd name="connsiteY7" fmla="*/ 2861253 h 5157050"/>
              <a:gd name="connsiteX8" fmla="*/ 8379344 w 12193200"/>
              <a:gd name="connsiteY8" fmla="*/ 4775870 h 5157050"/>
              <a:gd name="connsiteX9" fmla="*/ 2735348 w 12193200"/>
              <a:gd name="connsiteY9" fmla="*/ 5032618 h 5157050"/>
              <a:gd name="connsiteX10" fmla="*/ 2660080 w 12193200"/>
              <a:gd name="connsiteY10" fmla="*/ 4557394 h 5157050"/>
              <a:gd name="connsiteX11" fmla="*/ 2667873 w 12193200"/>
              <a:gd name="connsiteY11" fmla="*/ 4555820 h 5157050"/>
              <a:gd name="connsiteX12" fmla="*/ 2714046 w 12193200"/>
              <a:gd name="connsiteY12" fmla="*/ 4486161 h 5157050"/>
              <a:gd name="connsiteX13" fmla="*/ 2711582 w 12193200"/>
              <a:gd name="connsiteY13" fmla="*/ 4473954 h 5157050"/>
              <a:gd name="connsiteX14" fmla="*/ 12193200 w 12193200"/>
              <a:gd name="connsiteY14" fmla="*/ 2284950 h 5157050"/>
              <a:gd name="connsiteX15" fmla="*/ 12193200 w 12193200"/>
              <a:gd name="connsiteY15" fmla="*/ 4602376 h 5157050"/>
              <a:gd name="connsiteX16" fmla="*/ 8395259 w 12193200"/>
              <a:gd name="connsiteY16" fmla="*/ 4775146 h 5157050"/>
              <a:gd name="connsiteX17" fmla="*/ 9715286 w 12193200"/>
              <a:gd name="connsiteY17" fmla="*/ 2857021 h 5157050"/>
              <a:gd name="connsiteX18" fmla="*/ 11681447 w 12193200"/>
              <a:gd name="connsiteY18" fmla="*/ 0 h 5157050"/>
              <a:gd name="connsiteX19" fmla="*/ 12193200 w 12193200"/>
              <a:gd name="connsiteY19" fmla="*/ 0 h 5157050"/>
              <a:gd name="connsiteX20" fmla="*/ 12193200 w 12193200"/>
              <a:gd name="connsiteY20" fmla="*/ 2271916 h 5157050"/>
              <a:gd name="connsiteX21" fmla="*/ 9725950 w 12193200"/>
              <a:gd name="connsiteY21" fmla="*/ 2841525 h 5157050"/>
              <a:gd name="connsiteX22" fmla="*/ 0 w 12193200"/>
              <a:gd name="connsiteY22" fmla="*/ 0 h 5157050"/>
              <a:gd name="connsiteX23" fmla="*/ 11666031 w 12193200"/>
              <a:gd name="connsiteY23" fmla="*/ 0 h 5157050"/>
              <a:gd name="connsiteX24" fmla="*/ 9707621 w 12193200"/>
              <a:gd name="connsiteY24" fmla="*/ 2845757 h 5157050"/>
              <a:gd name="connsiteX25" fmla="*/ 2709068 w 12193200"/>
              <a:gd name="connsiteY25" fmla="*/ 4461501 h 5157050"/>
              <a:gd name="connsiteX26" fmla="*/ 2708105 w 12193200"/>
              <a:gd name="connsiteY26" fmla="*/ 4456734 h 5157050"/>
              <a:gd name="connsiteX27" fmla="*/ 2638446 w 12193200"/>
              <a:gd name="connsiteY27" fmla="*/ 4410561 h 5157050"/>
              <a:gd name="connsiteX28" fmla="*/ 2584989 w 12193200"/>
              <a:gd name="connsiteY28" fmla="*/ 4432704 h 5157050"/>
              <a:gd name="connsiteX29" fmla="*/ 2575734 w 12193200"/>
              <a:gd name="connsiteY29" fmla="*/ 4446431 h 5157050"/>
              <a:gd name="connsiteX30" fmla="*/ 0 w 12193200"/>
              <a:gd name="connsiteY30" fmla="*/ 3353098 h 515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57050">
                <a:moveTo>
                  <a:pt x="0" y="3366894"/>
                </a:moveTo>
                <a:lnTo>
                  <a:pt x="2568686" y="4457237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21" y="4559909"/>
                </a:lnTo>
                <a:lnTo>
                  <a:pt x="2722582" y="5033199"/>
                </a:lnTo>
                <a:lnTo>
                  <a:pt x="0" y="5157050"/>
                </a:lnTo>
                <a:close/>
                <a:moveTo>
                  <a:pt x="9696957" y="2861253"/>
                </a:moveTo>
                <a:lnTo>
                  <a:pt x="8379344" y="4775870"/>
                </a:lnTo>
                <a:lnTo>
                  <a:pt x="2735348" y="5032618"/>
                </a:lnTo>
                <a:lnTo>
                  <a:pt x="2660080" y="4557394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82" y="4473954"/>
                </a:lnTo>
                <a:close/>
                <a:moveTo>
                  <a:pt x="12193200" y="2284950"/>
                </a:moveTo>
                <a:lnTo>
                  <a:pt x="12193200" y="4602376"/>
                </a:lnTo>
                <a:lnTo>
                  <a:pt x="8395259" y="4775146"/>
                </a:lnTo>
                <a:lnTo>
                  <a:pt x="9715286" y="2857021"/>
                </a:lnTo>
                <a:close/>
                <a:moveTo>
                  <a:pt x="11681447" y="0"/>
                </a:moveTo>
                <a:lnTo>
                  <a:pt x="12193200" y="0"/>
                </a:lnTo>
                <a:lnTo>
                  <a:pt x="12193200" y="2271916"/>
                </a:lnTo>
                <a:lnTo>
                  <a:pt x="9725950" y="2841525"/>
                </a:lnTo>
                <a:close/>
                <a:moveTo>
                  <a:pt x="0" y="0"/>
                </a:moveTo>
                <a:lnTo>
                  <a:pt x="11666031" y="0"/>
                </a:lnTo>
                <a:lnTo>
                  <a:pt x="9707621" y="2845757"/>
                </a:lnTo>
                <a:lnTo>
                  <a:pt x="2709068" y="4461501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734" y="4446431"/>
                </a:lnTo>
                <a:lnTo>
                  <a:pt x="0" y="3353098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000" y="1846800"/>
            <a:ext cx="8280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774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1200" kern="0" baseline="0" noProof="0" dirty="0">
              <a:solidFill>
                <a:srgbClr val="E3003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 dirty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">
            <a:extLst>
              <a:ext uri="{FF2B5EF4-FFF2-40B4-BE49-F238E27FC236}">
                <a16:creationId xmlns:a16="http://schemas.microsoft.com/office/drawing/2014/main" id="{442953E7-0661-4596-B845-3CAECE60C379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C766C59-49C3-4476-A96B-266E072BCA70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A172B81-6FC0-4237-BB10-33D4A26CF8E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IFX_Title_and_Four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IFX_Row_and_Two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IFX_Row_Two_Columns_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IFX_Title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IFX_Row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IFX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IFX_Row_and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FX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FX_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FX_Final_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pic>
        <p:nvPicPr>
          <p:cNvPr id="3" name="Logo - Claim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58552"/>
            <a:ext cx="12192000" cy="685801"/>
          </a:xfrm>
          <a:prstGeom prst="rect">
            <a:avLst/>
          </a:prstGeom>
        </p:spPr>
      </p:pic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811525" y="1376772"/>
            <a:ext cx="8568952" cy="4176464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F214AAF-1E9D-4FD3-8516-DCD8CEDA1EA1}"/>
              </a:ext>
            </a:extLst>
          </p:cNvPr>
          <p:cNvSpPr/>
          <p:nvPr/>
        </p:nvSpPr>
        <p:spPr>
          <a:xfrm>
            <a:off x="4444793" y="1933900"/>
            <a:ext cx="3429317" cy="1125638"/>
          </a:xfrm>
          <a:custGeom>
            <a:avLst/>
            <a:gdLst>
              <a:gd name="connsiteX0" fmla="*/ 2720290 w 3429317"/>
              <a:gd name="connsiteY0" fmla="*/ 1125639 h 1125638"/>
              <a:gd name="connsiteX1" fmla="*/ 2937850 w 3429317"/>
              <a:gd name="connsiteY1" fmla="*/ 788574 h 1125638"/>
              <a:gd name="connsiteX2" fmla="*/ 2720290 w 3429317"/>
              <a:gd name="connsiteY2" fmla="*/ 459348 h 1125638"/>
              <a:gd name="connsiteX3" fmla="*/ 2505859 w 3429317"/>
              <a:gd name="connsiteY3" fmla="*/ 791710 h 1125638"/>
              <a:gd name="connsiteX4" fmla="*/ 2720290 w 3429317"/>
              <a:gd name="connsiteY4" fmla="*/ 1125639 h 1125638"/>
              <a:gd name="connsiteX5" fmla="*/ 2638900 w 3429317"/>
              <a:gd name="connsiteY5" fmla="*/ 787007 h 1125638"/>
              <a:gd name="connsiteX6" fmla="*/ 2720290 w 3429317"/>
              <a:gd name="connsiteY6" fmla="*/ 572226 h 1125638"/>
              <a:gd name="connsiteX7" fmla="*/ 2804810 w 3429317"/>
              <a:gd name="connsiteY7" fmla="*/ 790142 h 1125638"/>
              <a:gd name="connsiteX8" fmla="*/ 2723420 w 3429317"/>
              <a:gd name="connsiteY8" fmla="*/ 1015897 h 1125638"/>
              <a:gd name="connsiteX9" fmla="*/ 2638900 w 3429317"/>
              <a:gd name="connsiteY9" fmla="*/ 787007 h 1125638"/>
              <a:gd name="connsiteX10" fmla="*/ 2238213 w 3429317"/>
              <a:gd name="connsiteY10" fmla="*/ 1125639 h 1125638"/>
              <a:gd name="connsiteX11" fmla="*/ 2418209 w 3429317"/>
              <a:gd name="connsiteY11" fmla="*/ 1040981 h 1125638"/>
              <a:gd name="connsiteX12" fmla="*/ 2369688 w 3429317"/>
              <a:gd name="connsiteY12" fmla="*/ 950052 h 1125638"/>
              <a:gd name="connsiteX13" fmla="*/ 2249169 w 3429317"/>
              <a:gd name="connsiteY13" fmla="*/ 1012761 h 1125638"/>
              <a:gd name="connsiteX14" fmla="*/ 2161519 w 3429317"/>
              <a:gd name="connsiteY14" fmla="*/ 953187 h 1125638"/>
              <a:gd name="connsiteX15" fmla="*/ 2142737 w 3429317"/>
              <a:gd name="connsiteY15" fmla="*/ 841877 h 1125638"/>
              <a:gd name="connsiteX16" fmla="*/ 2142737 w 3429317"/>
              <a:gd name="connsiteY16" fmla="*/ 829335 h 1125638"/>
              <a:gd name="connsiteX17" fmla="*/ 2424470 w 3429317"/>
              <a:gd name="connsiteY17" fmla="*/ 829335 h 1125638"/>
              <a:gd name="connsiteX18" fmla="*/ 2424470 w 3429317"/>
              <a:gd name="connsiteY18" fmla="*/ 801116 h 1125638"/>
              <a:gd name="connsiteX19" fmla="*/ 2363428 w 3429317"/>
              <a:gd name="connsiteY19" fmla="*/ 526761 h 1125638"/>
              <a:gd name="connsiteX20" fmla="*/ 2222561 w 3429317"/>
              <a:gd name="connsiteY20" fmla="*/ 459348 h 1125638"/>
              <a:gd name="connsiteX21" fmla="*/ 2070738 w 3429317"/>
              <a:gd name="connsiteY21" fmla="*/ 542439 h 1125638"/>
              <a:gd name="connsiteX22" fmla="*/ 2012826 w 3429317"/>
              <a:gd name="connsiteY22" fmla="*/ 791710 h 1125638"/>
              <a:gd name="connsiteX23" fmla="*/ 2238213 w 3429317"/>
              <a:gd name="connsiteY23" fmla="*/ 1125639 h 1125638"/>
              <a:gd name="connsiteX24" fmla="*/ 2224126 w 3429317"/>
              <a:gd name="connsiteY24" fmla="*/ 562819 h 1125638"/>
              <a:gd name="connsiteX25" fmla="*/ 2286734 w 3429317"/>
              <a:gd name="connsiteY25" fmla="*/ 608284 h 1125638"/>
              <a:gd name="connsiteX26" fmla="*/ 2300820 w 3429317"/>
              <a:gd name="connsiteY26" fmla="*/ 725865 h 1125638"/>
              <a:gd name="connsiteX27" fmla="*/ 2142737 w 3429317"/>
              <a:gd name="connsiteY27" fmla="*/ 725865 h 1125638"/>
              <a:gd name="connsiteX28" fmla="*/ 2224126 w 3429317"/>
              <a:gd name="connsiteY28" fmla="*/ 562819 h 1125638"/>
              <a:gd name="connsiteX29" fmla="*/ 3041152 w 3429317"/>
              <a:gd name="connsiteY29" fmla="*/ 1109961 h 1125638"/>
              <a:gd name="connsiteX30" fmla="*/ 3163237 w 3429317"/>
              <a:gd name="connsiteY30" fmla="*/ 1109961 h 1125638"/>
              <a:gd name="connsiteX31" fmla="*/ 3163237 w 3429317"/>
              <a:gd name="connsiteY31" fmla="*/ 639639 h 1125638"/>
              <a:gd name="connsiteX32" fmla="*/ 3252452 w 3429317"/>
              <a:gd name="connsiteY32" fmla="*/ 583200 h 1125638"/>
              <a:gd name="connsiteX33" fmla="*/ 3293147 w 3429317"/>
              <a:gd name="connsiteY33" fmla="*/ 598877 h 1125638"/>
              <a:gd name="connsiteX34" fmla="*/ 3307233 w 3429317"/>
              <a:gd name="connsiteY34" fmla="*/ 681968 h 1125638"/>
              <a:gd name="connsiteX35" fmla="*/ 3307233 w 3429317"/>
              <a:gd name="connsiteY35" fmla="*/ 1109961 h 1125638"/>
              <a:gd name="connsiteX36" fmla="*/ 3429318 w 3429317"/>
              <a:gd name="connsiteY36" fmla="*/ 1109961 h 1125638"/>
              <a:gd name="connsiteX37" fmla="*/ 3429318 w 3429317"/>
              <a:gd name="connsiteY37" fmla="*/ 625529 h 1125638"/>
              <a:gd name="connsiteX38" fmla="*/ 3399579 w 3429317"/>
              <a:gd name="connsiteY38" fmla="*/ 509516 h 1125638"/>
              <a:gd name="connsiteX39" fmla="*/ 3299408 w 3429317"/>
              <a:gd name="connsiteY39" fmla="*/ 464052 h 1125638"/>
              <a:gd name="connsiteX40" fmla="*/ 3153845 w 3429317"/>
              <a:gd name="connsiteY40" fmla="*/ 534600 h 1125638"/>
              <a:gd name="connsiteX41" fmla="*/ 3138194 w 3429317"/>
              <a:gd name="connsiteY41" fmla="*/ 459348 h 1125638"/>
              <a:gd name="connsiteX42" fmla="*/ 3023935 w 3429317"/>
              <a:gd name="connsiteY42" fmla="*/ 489136 h 1125638"/>
              <a:gd name="connsiteX43" fmla="*/ 3039587 w 3429317"/>
              <a:gd name="connsiteY43" fmla="*/ 642774 h 1125638"/>
              <a:gd name="connsiteX44" fmla="*/ 3039587 w 3429317"/>
              <a:gd name="connsiteY44" fmla="*/ 1109961 h 1125638"/>
              <a:gd name="connsiteX45" fmla="*/ 1623096 w 3429317"/>
              <a:gd name="connsiteY45" fmla="*/ 534600 h 1125638"/>
              <a:gd name="connsiteX46" fmla="*/ 1607444 w 3429317"/>
              <a:gd name="connsiteY46" fmla="*/ 459348 h 1125638"/>
              <a:gd name="connsiteX47" fmla="*/ 1493185 w 3429317"/>
              <a:gd name="connsiteY47" fmla="*/ 489136 h 1125638"/>
              <a:gd name="connsiteX48" fmla="*/ 1508837 w 3429317"/>
              <a:gd name="connsiteY48" fmla="*/ 642774 h 1125638"/>
              <a:gd name="connsiteX49" fmla="*/ 1508837 w 3429317"/>
              <a:gd name="connsiteY49" fmla="*/ 1108394 h 1125638"/>
              <a:gd name="connsiteX50" fmla="*/ 1630922 w 3429317"/>
              <a:gd name="connsiteY50" fmla="*/ 1108394 h 1125638"/>
              <a:gd name="connsiteX51" fmla="*/ 1630922 w 3429317"/>
              <a:gd name="connsiteY51" fmla="*/ 638071 h 1125638"/>
              <a:gd name="connsiteX52" fmla="*/ 1720137 w 3429317"/>
              <a:gd name="connsiteY52" fmla="*/ 581632 h 1125638"/>
              <a:gd name="connsiteX53" fmla="*/ 1760832 w 3429317"/>
              <a:gd name="connsiteY53" fmla="*/ 597310 h 1125638"/>
              <a:gd name="connsiteX54" fmla="*/ 1774919 w 3429317"/>
              <a:gd name="connsiteY54" fmla="*/ 680400 h 1125638"/>
              <a:gd name="connsiteX55" fmla="*/ 1774919 w 3429317"/>
              <a:gd name="connsiteY55" fmla="*/ 1108394 h 1125638"/>
              <a:gd name="connsiteX56" fmla="*/ 1897003 w 3429317"/>
              <a:gd name="connsiteY56" fmla="*/ 1108394 h 1125638"/>
              <a:gd name="connsiteX57" fmla="*/ 1897003 w 3429317"/>
              <a:gd name="connsiteY57" fmla="*/ 625529 h 1125638"/>
              <a:gd name="connsiteX58" fmla="*/ 1867264 w 3429317"/>
              <a:gd name="connsiteY58" fmla="*/ 509516 h 1125638"/>
              <a:gd name="connsiteX59" fmla="*/ 1767093 w 3429317"/>
              <a:gd name="connsiteY59" fmla="*/ 464052 h 1125638"/>
              <a:gd name="connsiteX60" fmla="*/ 1623096 w 3429317"/>
              <a:gd name="connsiteY60" fmla="*/ 534600 h 1125638"/>
              <a:gd name="connsiteX61" fmla="*/ 129910 w 3429317"/>
              <a:gd name="connsiteY61" fmla="*/ 260245 h 1125638"/>
              <a:gd name="connsiteX62" fmla="*/ 259820 w 3429317"/>
              <a:gd name="connsiteY62" fmla="*/ 130123 h 1125638"/>
              <a:gd name="connsiteX63" fmla="*/ 129910 w 3429317"/>
              <a:gd name="connsiteY63" fmla="*/ 0 h 1125638"/>
              <a:gd name="connsiteX64" fmla="*/ 0 w 3429317"/>
              <a:gd name="connsiteY64" fmla="*/ 130123 h 1125638"/>
              <a:gd name="connsiteX65" fmla="*/ 129910 w 3429317"/>
              <a:gd name="connsiteY65" fmla="*/ 260245 h 1125638"/>
              <a:gd name="connsiteX66" fmla="*/ 729376 w 3429317"/>
              <a:gd name="connsiteY66" fmla="*/ 1109961 h 1125638"/>
              <a:gd name="connsiteX67" fmla="*/ 729376 w 3429317"/>
              <a:gd name="connsiteY67" fmla="*/ 625529 h 1125638"/>
              <a:gd name="connsiteX68" fmla="*/ 699637 w 3429317"/>
              <a:gd name="connsiteY68" fmla="*/ 509516 h 1125638"/>
              <a:gd name="connsiteX69" fmla="*/ 599465 w 3429317"/>
              <a:gd name="connsiteY69" fmla="*/ 464052 h 1125638"/>
              <a:gd name="connsiteX70" fmla="*/ 453903 w 3429317"/>
              <a:gd name="connsiteY70" fmla="*/ 534600 h 1125638"/>
              <a:gd name="connsiteX71" fmla="*/ 438251 w 3429317"/>
              <a:gd name="connsiteY71" fmla="*/ 459348 h 1125638"/>
              <a:gd name="connsiteX72" fmla="*/ 325558 w 3429317"/>
              <a:gd name="connsiteY72" fmla="*/ 490703 h 1125638"/>
              <a:gd name="connsiteX73" fmla="*/ 341210 w 3429317"/>
              <a:gd name="connsiteY73" fmla="*/ 644342 h 1125638"/>
              <a:gd name="connsiteX74" fmla="*/ 341210 w 3429317"/>
              <a:gd name="connsiteY74" fmla="*/ 1109961 h 1125638"/>
              <a:gd name="connsiteX75" fmla="*/ 463294 w 3429317"/>
              <a:gd name="connsiteY75" fmla="*/ 1109961 h 1125638"/>
              <a:gd name="connsiteX76" fmla="*/ 463294 w 3429317"/>
              <a:gd name="connsiteY76" fmla="*/ 639639 h 1125638"/>
              <a:gd name="connsiteX77" fmla="*/ 552510 w 3429317"/>
              <a:gd name="connsiteY77" fmla="*/ 583200 h 1125638"/>
              <a:gd name="connsiteX78" fmla="*/ 593205 w 3429317"/>
              <a:gd name="connsiteY78" fmla="*/ 598877 h 1125638"/>
              <a:gd name="connsiteX79" fmla="*/ 607291 w 3429317"/>
              <a:gd name="connsiteY79" fmla="*/ 681968 h 1125638"/>
              <a:gd name="connsiteX80" fmla="*/ 607291 w 3429317"/>
              <a:gd name="connsiteY80" fmla="*/ 1109961 h 1125638"/>
              <a:gd name="connsiteX81" fmla="*/ 729376 w 3429317"/>
              <a:gd name="connsiteY81" fmla="*/ 1109961 h 1125638"/>
              <a:gd name="connsiteX82" fmla="*/ 1291277 w 3429317"/>
              <a:gd name="connsiteY82" fmla="*/ 225755 h 1125638"/>
              <a:gd name="connsiteX83" fmla="*/ 1209887 w 3429317"/>
              <a:gd name="connsiteY83" fmla="*/ 307277 h 1125638"/>
              <a:gd name="connsiteX84" fmla="*/ 1289712 w 3429317"/>
              <a:gd name="connsiteY84" fmla="*/ 388800 h 1125638"/>
              <a:gd name="connsiteX85" fmla="*/ 1371101 w 3429317"/>
              <a:gd name="connsiteY85" fmla="*/ 307277 h 1125638"/>
              <a:gd name="connsiteX86" fmla="*/ 1291277 w 3429317"/>
              <a:gd name="connsiteY86" fmla="*/ 225755 h 1125638"/>
              <a:gd name="connsiteX87" fmla="*/ 71998 w 3429317"/>
              <a:gd name="connsiteY87" fmla="*/ 1109961 h 1125638"/>
              <a:gd name="connsiteX88" fmla="*/ 194083 w 3429317"/>
              <a:gd name="connsiteY88" fmla="*/ 1109961 h 1125638"/>
              <a:gd name="connsiteX89" fmla="*/ 194083 w 3429317"/>
              <a:gd name="connsiteY89" fmla="*/ 346471 h 1125638"/>
              <a:gd name="connsiteX90" fmla="*/ 71998 w 3429317"/>
              <a:gd name="connsiteY90" fmla="*/ 362148 h 1125638"/>
              <a:gd name="connsiteX91" fmla="*/ 71998 w 3429317"/>
              <a:gd name="connsiteY91" fmla="*/ 1109961 h 1125638"/>
              <a:gd name="connsiteX92" fmla="*/ 1069021 w 3429317"/>
              <a:gd name="connsiteY92" fmla="*/ 301006 h 1125638"/>
              <a:gd name="connsiteX93" fmla="*/ 1126932 w 3429317"/>
              <a:gd name="connsiteY93" fmla="*/ 319819 h 1125638"/>
              <a:gd name="connsiteX94" fmla="*/ 1161366 w 3429317"/>
              <a:gd name="connsiteY94" fmla="*/ 224187 h 1125638"/>
              <a:gd name="connsiteX95" fmla="*/ 1047108 w 3429317"/>
              <a:gd name="connsiteY95" fmla="*/ 189697 h 1125638"/>
              <a:gd name="connsiteX96" fmla="*/ 953197 w 3429317"/>
              <a:gd name="connsiteY96" fmla="*/ 221052 h 1125638"/>
              <a:gd name="connsiteX97" fmla="*/ 892155 w 3429317"/>
              <a:gd name="connsiteY97" fmla="*/ 390368 h 1125638"/>
              <a:gd name="connsiteX98" fmla="*/ 893720 w 3429317"/>
              <a:gd name="connsiteY98" fmla="*/ 473458 h 1125638"/>
              <a:gd name="connsiteX99" fmla="*/ 851460 w 3429317"/>
              <a:gd name="connsiteY99" fmla="*/ 473458 h 1125638"/>
              <a:gd name="connsiteX100" fmla="*/ 851460 w 3429317"/>
              <a:gd name="connsiteY100" fmla="*/ 581632 h 1125638"/>
              <a:gd name="connsiteX101" fmla="*/ 893720 w 3429317"/>
              <a:gd name="connsiteY101" fmla="*/ 581632 h 1125638"/>
              <a:gd name="connsiteX102" fmla="*/ 893720 w 3429317"/>
              <a:gd name="connsiteY102" fmla="*/ 1108394 h 1125638"/>
              <a:gd name="connsiteX103" fmla="*/ 1018935 w 3429317"/>
              <a:gd name="connsiteY103" fmla="*/ 1108394 h 1125638"/>
              <a:gd name="connsiteX104" fmla="*/ 1018935 w 3429317"/>
              <a:gd name="connsiteY104" fmla="*/ 583200 h 1125638"/>
              <a:gd name="connsiteX105" fmla="*/ 1111281 w 3429317"/>
              <a:gd name="connsiteY105" fmla="*/ 583200 h 1125638"/>
              <a:gd name="connsiteX106" fmla="*/ 1134758 w 3429317"/>
              <a:gd name="connsiteY106" fmla="*/ 475026 h 1125638"/>
              <a:gd name="connsiteX107" fmla="*/ 1020500 w 3429317"/>
              <a:gd name="connsiteY107" fmla="*/ 475026 h 1125638"/>
              <a:gd name="connsiteX108" fmla="*/ 1020500 w 3429317"/>
              <a:gd name="connsiteY108" fmla="*/ 377826 h 1125638"/>
              <a:gd name="connsiteX109" fmla="*/ 1069021 w 3429317"/>
              <a:gd name="connsiteY109" fmla="*/ 301006 h 1125638"/>
              <a:gd name="connsiteX110" fmla="*/ 1228669 w 3429317"/>
              <a:gd name="connsiteY110" fmla="*/ 1109961 h 1125638"/>
              <a:gd name="connsiteX111" fmla="*/ 1352319 w 3429317"/>
              <a:gd name="connsiteY111" fmla="*/ 1109961 h 1125638"/>
              <a:gd name="connsiteX112" fmla="*/ 1352319 w 3429317"/>
              <a:gd name="connsiteY112" fmla="*/ 464052 h 1125638"/>
              <a:gd name="connsiteX113" fmla="*/ 1228669 w 3429317"/>
              <a:gd name="connsiteY113" fmla="*/ 479729 h 1125638"/>
              <a:gd name="connsiteX114" fmla="*/ 1228669 w 3429317"/>
              <a:gd name="connsiteY114" fmla="*/ 1109961 h 112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3429317" h="1125638">
                <a:moveTo>
                  <a:pt x="2720290" y="1125639"/>
                </a:moveTo>
                <a:cubicBezTo>
                  <a:pt x="2886199" y="1125639"/>
                  <a:pt x="2937850" y="950052"/>
                  <a:pt x="2937850" y="788574"/>
                </a:cubicBezTo>
                <a:cubicBezTo>
                  <a:pt x="2937850" y="572226"/>
                  <a:pt x="2847069" y="459348"/>
                  <a:pt x="2720290" y="459348"/>
                </a:cubicBezTo>
                <a:cubicBezTo>
                  <a:pt x="2560641" y="459348"/>
                  <a:pt x="2504294" y="634936"/>
                  <a:pt x="2505859" y="791710"/>
                </a:cubicBezTo>
                <a:cubicBezTo>
                  <a:pt x="2507425" y="946916"/>
                  <a:pt x="2551250" y="1125639"/>
                  <a:pt x="2720290" y="1125639"/>
                </a:cubicBezTo>
                <a:close/>
                <a:moveTo>
                  <a:pt x="2638900" y="787007"/>
                </a:moveTo>
                <a:cubicBezTo>
                  <a:pt x="2638900" y="722729"/>
                  <a:pt x="2638900" y="572226"/>
                  <a:pt x="2720290" y="572226"/>
                </a:cubicBezTo>
                <a:cubicBezTo>
                  <a:pt x="2807940" y="572226"/>
                  <a:pt x="2804810" y="721161"/>
                  <a:pt x="2804810" y="790142"/>
                </a:cubicBezTo>
                <a:cubicBezTo>
                  <a:pt x="2804810" y="855987"/>
                  <a:pt x="2804810" y="1015897"/>
                  <a:pt x="2723420" y="1015897"/>
                </a:cubicBezTo>
                <a:cubicBezTo>
                  <a:pt x="2635770" y="1014329"/>
                  <a:pt x="2638900" y="854419"/>
                  <a:pt x="2638900" y="787007"/>
                </a:cubicBezTo>
                <a:close/>
                <a:moveTo>
                  <a:pt x="2238213" y="1125639"/>
                </a:moveTo>
                <a:cubicBezTo>
                  <a:pt x="2305516" y="1125639"/>
                  <a:pt x="2363428" y="1098987"/>
                  <a:pt x="2418209" y="1040981"/>
                </a:cubicBezTo>
                <a:lnTo>
                  <a:pt x="2369688" y="950052"/>
                </a:lnTo>
                <a:cubicBezTo>
                  <a:pt x="2332124" y="990813"/>
                  <a:pt x="2294560" y="1012761"/>
                  <a:pt x="2249169" y="1012761"/>
                </a:cubicBezTo>
                <a:cubicBezTo>
                  <a:pt x="2211605" y="1012761"/>
                  <a:pt x="2180301" y="990813"/>
                  <a:pt x="2161519" y="953187"/>
                </a:cubicBezTo>
                <a:cubicBezTo>
                  <a:pt x="2145867" y="920265"/>
                  <a:pt x="2142737" y="882639"/>
                  <a:pt x="2142737" y="841877"/>
                </a:cubicBezTo>
                <a:lnTo>
                  <a:pt x="2142737" y="829335"/>
                </a:lnTo>
                <a:lnTo>
                  <a:pt x="2424470" y="829335"/>
                </a:lnTo>
                <a:lnTo>
                  <a:pt x="2424470" y="801116"/>
                </a:lnTo>
                <a:cubicBezTo>
                  <a:pt x="2424470" y="661587"/>
                  <a:pt x="2407253" y="584768"/>
                  <a:pt x="2363428" y="526761"/>
                </a:cubicBezTo>
                <a:cubicBezTo>
                  <a:pt x="2330559" y="482865"/>
                  <a:pt x="2282038" y="459348"/>
                  <a:pt x="2222561" y="459348"/>
                </a:cubicBezTo>
                <a:cubicBezTo>
                  <a:pt x="2159954" y="459348"/>
                  <a:pt x="2108303" y="487568"/>
                  <a:pt x="2070738" y="542439"/>
                </a:cubicBezTo>
                <a:cubicBezTo>
                  <a:pt x="2030044" y="602013"/>
                  <a:pt x="2012826" y="681968"/>
                  <a:pt x="2012826" y="791710"/>
                </a:cubicBezTo>
                <a:cubicBezTo>
                  <a:pt x="2011261" y="1001787"/>
                  <a:pt x="2094216" y="1125639"/>
                  <a:pt x="2238213" y="1125639"/>
                </a:cubicBezTo>
                <a:close/>
                <a:moveTo>
                  <a:pt x="2224126" y="562819"/>
                </a:moveTo>
                <a:cubicBezTo>
                  <a:pt x="2255430" y="562819"/>
                  <a:pt x="2274212" y="580065"/>
                  <a:pt x="2286734" y="608284"/>
                </a:cubicBezTo>
                <a:cubicBezTo>
                  <a:pt x="2296125" y="633368"/>
                  <a:pt x="2300820" y="675697"/>
                  <a:pt x="2300820" y="725865"/>
                </a:cubicBezTo>
                <a:lnTo>
                  <a:pt x="2142737" y="725865"/>
                </a:lnTo>
                <a:cubicBezTo>
                  <a:pt x="2144302" y="614555"/>
                  <a:pt x="2167780" y="562819"/>
                  <a:pt x="2224126" y="562819"/>
                </a:cubicBezTo>
                <a:close/>
                <a:moveTo>
                  <a:pt x="3041152" y="1109961"/>
                </a:moveTo>
                <a:lnTo>
                  <a:pt x="3163237" y="1109961"/>
                </a:lnTo>
                <a:lnTo>
                  <a:pt x="3163237" y="639639"/>
                </a:lnTo>
                <a:cubicBezTo>
                  <a:pt x="3192975" y="603581"/>
                  <a:pt x="3227409" y="583200"/>
                  <a:pt x="3252452" y="583200"/>
                </a:cubicBezTo>
                <a:cubicBezTo>
                  <a:pt x="3268104" y="583200"/>
                  <a:pt x="3283756" y="586335"/>
                  <a:pt x="3293147" y="598877"/>
                </a:cubicBezTo>
                <a:cubicBezTo>
                  <a:pt x="3302538" y="612987"/>
                  <a:pt x="3307233" y="633368"/>
                  <a:pt x="3307233" y="681968"/>
                </a:cubicBezTo>
                <a:lnTo>
                  <a:pt x="3307233" y="1109961"/>
                </a:lnTo>
                <a:lnTo>
                  <a:pt x="3429318" y="1109961"/>
                </a:lnTo>
                <a:lnTo>
                  <a:pt x="3429318" y="625529"/>
                </a:lnTo>
                <a:cubicBezTo>
                  <a:pt x="3429318" y="583200"/>
                  <a:pt x="3424622" y="540871"/>
                  <a:pt x="3399579" y="509516"/>
                </a:cubicBezTo>
                <a:cubicBezTo>
                  <a:pt x="3377667" y="481297"/>
                  <a:pt x="3343233" y="464052"/>
                  <a:pt x="3299408" y="464052"/>
                </a:cubicBezTo>
                <a:cubicBezTo>
                  <a:pt x="3243061" y="464052"/>
                  <a:pt x="3185149" y="496974"/>
                  <a:pt x="3153845" y="534600"/>
                </a:cubicBezTo>
                <a:cubicBezTo>
                  <a:pt x="3152280" y="501677"/>
                  <a:pt x="3141324" y="470323"/>
                  <a:pt x="3138194" y="459348"/>
                </a:cubicBezTo>
                <a:lnTo>
                  <a:pt x="3023935" y="489136"/>
                </a:lnTo>
                <a:cubicBezTo>
                  <a:pt x="3030196" y="523626"/>
                  <a:pt x="3039587" y="565955"/>
                  <a:pt x="3039587" y="642774"/>
                </a:cubicBezTo>
                <a:lnTo>
                  <a:pt x="3039587" y="1109961"/>
                </a:lnTo>
                <a:close/>
                <a:moveTo>
                  <a:pt x="1623096" y="534600"/>
                </a:moveTo>
                <a:cubicBezTo>
                  <a:pt x="1621530" y="501677"/>
                  <a:pt x="1610574" y="470323"/>
                  <a:pt x="1607444" y="459348"/>
                </a:cubicBezTo>
                <a:lnTo>
                  <a:pt x="1493185" y="489136"/>
                </a:lnTo>
                <a:cubicBezTo>
                  <a:pt x="1499446" y="523626"/>
                  <a:pt x="1508837" y="565955"/>
                  <a:pt x="1508837" y="642774"/>
                </a:cubicBezTo>
                <a:lnTo>
                  <a:pt x="1508837" y="1108394"/>
                </a:lnTo>
                <a:lnTo>
                  <a:pt x="1630922" y="1108394"/>
                </a:lnTo>
                <a:lnTo>
                  <a:pt x="1630922" y="638071"/>
                </a:lnTo>
                <a:cubicBezTo>
                  <a:pt x="1660660" y="602013"/>
                  <a:pt x="1695094" y="581632"/>
                  <a:pt x="1720137" y="581632"/>
                </a:cubicBezTo>
                <a:cubicBezTo>
                  <a:pt x="1735789" y="581632"/>
                  <a:pt x="1751441" y="584768"/>
                  <a:pt x="1760832" y="597310"/>
                </a:cubicBezTo>
                <a:cubicBezTo>
                  <a:pt x="1770223" y="611419"/>
                  <a:pt x="1774919" y="631800"/>
                  <a:pt x="1774919" y="680400"/>
                </a:cubicBezTo>
                <a:lnTo>
                  <a:pt x="1774919" y="1108394"/>
                </a:lnTo>
                <a:lnTo>
                  <a:pt x="1897003" y="1108394"/>
                </a:lnTo>
                <a:lnTo>
                  <a:pt x="1897003" y="625529"/>
                </a:lnTo>
                <a:cubicBezTo>
                  <a:pt x="1897003" y="583200"/>
                  <a:pt x="1892307" y="540871"/>
                  <a:pt x="1867264" y="509516"/>
                </a:cubicBezTo>
                <a:cubicBezTo>
                  <a:pt x="1845352" y="481297"/>
                  <a:pt x="1810918" y="464052"/>
                  <a:pt x="1767093" y="464052"/>
                </a:cubicBezTo>
                <a:cubicBezTo>
                  <a:pt x="1712311" y="464052"/>
                  <a:pt x="1654399" y="496974"/>
                  <a:pt x="1623096" y="534600"/>
                </a:cubicBezTo>
                <a:close/>
                <a:moveTo>
                  <a:pt x="129910" y="260245"/>
                </a:moveTo>
                <a:cubicBezTo>
                  <a:pt x="201909" y="260245"/>
                  <a:pt x="259820" y="202239"/>
                  <a:pt x="259820" y="130123"/>
                </a:cubicBezTo>
                <a:cubicBezTo>
                  <a:pt x="259820" y="58006"/>
                  <a:pt x="201909" y="0"/>
                  <a:pt x="129910" y="0"/>
                </a:cubicBezTo>
                <a:cubicBezTo>
                  <a:pt x="57912" y="0"/>
                  <a:pt x="0" y="58006"/>
                  <a:pt x="0" y="130123"/>
                </a:cubicBezTo>
                <a:cubicBezTo>
                  <a:pt x="0" y="202239"/>
                  <a:pt x="57912" y="260245"/>
                  <a:pt x="129910" y="260245"/>
                </a:cubicBezTo>
                <a:close/>
                <a:moveTo>
                  <a:pt x="729376" y="1109961"/>
                </a:moveTo>
                <a:lnTo>
                  <a:pt x="729376" y="625529"/>
                </a:lnTo>
                <a:cubicBezTo>
                  <a:pt x="729376" y="583200"/>
                  <a:pt x="724680" y="540871"/>
                  <a:pt x="699637" y="509516"/>
                </a:cubicBezTo>
                <a:cubicBezTo>
                  <a:pt x="677725" y="481297"/>
                  <a:pt x="643291" y="464052"/>
                  <a:pt x="599465" y="464052"/>
                </a:cubicBezTo>
                <a:cubicBezTo>
                  <a:pt x="543119" y="464052"/>
                  <a:pt x="485207" y="496974"/>
                  <a:pt x="453903" y="534600"/>
                </a:cubicBezTo>
                <a:cubicBezTo>
                  <a:pt x="452338" y="501677"/>
                  <a:pt x="441382" y="470323"/>
                  <a:pt x="438251" y="459348"/>
                </a:cubicBezTo>
                <a:lnTo>
                  <a:pt x="325558" y="490703"/>
                </a:lnTo>
                <a:cubicBezTo>
                  <a:pt x="331819" y="525194"/>
                  <a:pt x="341210" y="567523"/>
                  <a:pt x="341210" y="644342"/>
                </a:cubicBezTo>
                <a:lnTo>
                  <a:pt x="341210" y="1109961"/>
                </a:lnTo>
                <a:lnTo>
                  <a:pt x="463294" y="1109961"/>
                </a:lnTo>
                <a:lnTo>
                  <a:pt x="463294" y="639639"/>
                </a:lnTo>
                <a:cubicBezTo>
                  <a:pt x="493033" y="603581"/>
                  <a:pt x="527467" y="583200"/>
                  <a:pt x="552510" y="583200"/>
                </a:cubicBezTo>
                <a:cubicBezTo>
                  <a:pt x="568162" y="583200"/>
                  <a:pt x="583814" y="586335"/>
                  <a:pt x="593205" y="598877"/>
                </a:cubicBezTo>
                <a:cubicBezTo>
                  <a:pt x="602596" y="612987"/>
                  <a:pt x="607291" y="633368"/>
                  <a:pt x="607291" y="681968"/>
                </a:cubicBezTo>
                <a:lnTo>
                  <a:pt x="607291" y="1109961"/>
                </a:lnTo>
                <a:lnTo>
                  <a:pt x="729376" y="1109961"/>
                </a:lnTo>
                <a:close/>
                <a:moveTo>
                  <a:pt x="1291277" y="225755"/>
                </a:moveTo>
                <a:cubicBezTo>
                  <a:pt x="1245886" y="225755"/>
                  <a:pt x="1209887" y="261813"/>
                  <a:pt x="1209887" y="307277"/>
                </a:cubicBezTo>
                <a:cubicBezTo>
                  <a:pt x="1209887" y="352742"/>
                  <a:pt x="1245886" y="388800"/>
                  <a:pt x="1289712" y="388800"/>
                </a:cubicBezTo>
                <a:cubicBezTo>
                  <a:pt x="1335102" y="388800"/>
                  <a:pt x="1371101" y="352742"/>
                  <a:pt x="1371101" y="307277"/>
                </a:cubicBezTo>
                <a:cubicBezTo>
                  <a:pt x="1371101" y="261813"/>
                  <a:pt x="1335102" y="225755"/>
                  <a:pt x="1291277" y="225755"/>
                </a:cubicBezTo>
                <a:close/>
                <a:moveTo>
                  <a:pt x="71998" y="1109961"/>
                </a:moveTo>
                <a:lnTo>
                  <a:pt x="194083" y="1109961"/>
                </a:lnTo>
                <a:lnTo>
                  <a:pt x="194083" y="346471"/>
                </a:lnTo>
                <a:lnTo>
                  <a:pt x="71998" y="362148"/>
                </a:lnTo>
                <a:lnTo>
                  <a:pt x="71998" y="1109961"/>
                </a:lnTo>
                <a:close/>
                <a:moveTo>
                  <a:pt x="1069021" y="301006"/>
                </a:moveTo>
                <a:cubicBezTo>
                  <a:pt x="1090933" y="301006"/>
                  <a:pt x="1112846" y="308845"/>
                  <a:pt x="1126932" y="319819"/>
                </a:cubicBezTo>
                <a:lnTo>
                  <a:pt x="1161366" y="224187"/>
                </a:lnTo>
                <a:cubicBezTo>
                  <a:pt x="1128498" y="200671"/>
                  <a:pt x="1092498" y="189697"/>
                  <a:pt x="1047108" y="189697"/>
                </a:cubicBezTo>
                <a:cubicBezTo>
                  <a:pt x="1015804" y="189697"/>
                  <a:pt x="982935" y="197535"/>
                  <a:pt x="953197" y="221052"/>
                </a:cubicBezTo>
                <a:cubicBezTo>
                  <a:pt x="923458" y="246135"/>
                  <a:pt x="892155" y="296303"/>
                  <a:pt x="892155" y="390368"/>
                </a:cubicBezTo>
                <a:cubicBezTo>
                  <a:pt x="892155" y="431129"/>
                  <a:pt x="893720" y="473458"/>
                  <a:pt x="893720" y="473458"/>
                </a:cubicBezTo>
                <a:lnTo>
                  <a:pt x="851460" y="473458"/>
                </a:lnTo>
                <a:lnTo>
                  <a:pt x="851460" y="581632"/>
                </a:lnTo>
                <a:lnTo>
                  <a:pt x="893720" y="581632"/>
                </a:lnTo>
                <a:lnTo>
                  <a:pt x="893720" y="1108394"/>
                </a:lnTo>
                <a:lnTo>
                  <a:pt x="1018935" y="1108394"/>
                </a:lnTo>
                <a:lnTo>
                  <a:pt x="1018935" y="583200"/>
                </a:lnTo>
                <a:lnTo>
                  <a:pt x="1111281" y="583200"/>
                </a:lnTo>
                <a:lnTo>
                  <a:pt x="1134758" y="475026"/>
                </a:lnTo>
                <a:lnTo>
                  <a:pt x="1020500" y="475026"/>
                </a:lnTo>
                <a:lnTo>
                  <a:pt x="1020500" y="377826"/>
                </a:lnTo>
                <a:cubicBezTo>
                  <a:pt x="1020500" y="330794"/>
                  <a:pt x="1039282" y="301006"/>
                  <a:pt x="1069021" y="301006"/>
                </a:cubicBezTo>
                <a:close/>
                <a:moveTo>
                  <a:pt x="1228669" y="1109961"/>
                </a:moveTo>
                <a:lnTo>
                  <a:pt x="1352319" y="1109961"/>
                </a:lnTo>
                <a:lnTo>
                  <a:pt x="1352319" y="464052"/>
                </a:lnTo>
                <a:lnTo>
                  <a:pt x="1228669" y="479729"/>
                </a:lnTo>
                <a:lnTo>
                  <a:pt x="1228669" y="1109961"/>
                </a:lnTo>
                <a:close/>
              </a:path>
            </a:pathLst>
          </a:custGeom>
          <a:solidFill>
            <a:srgbClr val="005DA9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60EEAB-08EF-4699-AAD1-3E74796DF911}"/>
              </a:ext>
            </a:extLst>
          </p:cNvPr>
          <p:cNvSpPr/>
          <p:nvPr/>
        </p:nvSpPr>
        <p:spPr>
          <a:xfrm>
            <a:off x="3859415" y="1750829"/>
            <a:ext cx="4435730" cy="1944213"/>
          </a:xfrm>
          <a:custGeom>
            <a:avLst/>
            <a:gdLst>
              <a:gd name="connsiteX0" fmla="*/ 3764267 w 4435730"/>
              <a:gd name="connsiteY0" fmla="*/ 1637936 h 1944213"/>
              <a:gd name="connsiteX1" fmla="*/ 2357167 w 4435730"/>
              <a:gd name="connsiteY1" fmla="*/ 1813523 h 1944213"/>
              <a:gd name="connsiteX2" fmla="*/ 248864 w 4435730"/>
              <a:gd name="connsiteY2" fmla="*/ 962240 h 1944213"/>
              <a:gd name="connsiteX3" fmla="*/ 608857 w 4435730"/>
              <a:gd name="connsiteY3" fmla="*/ 452723 h 1944213"/>
              <a:gd name="connsiteX4" fmla="*/ 538423 w 4435730"/>
              <a:gd name="connsiteY4" fmla="*/ 314762 h 1944213"/>
              <a:gd name="connsiteX5" fmla="*/ 0 w 4435730"/>
              <a:gd name="connsiteY5" fmla="*/ 976349 h 1944213"/>
              <a:gd name="connsiteX6" fmla="*/ 2369688 w 4435730"/>
              <a:gd name="connsiteY6" fmla="*/ 1943646 h 1944213"/>
              <a:gd name="connsiteX7" fmla="*/ 3646878 w 4435730"/>
              <a:gd name="connsiteY7" fmla="*/ 1744543 h 1944213"/>
              <a:gd name="connsiteX8" fmla="*/ 4435731 w 4435730"/>
              <a:gd name="connsiteY8" fmla="*/ 1302440 h 1944213"/>
              <a:gd name="connsiteX9" fmla="*/ 3764267 w 4435730"/>
              <a:gd name="connsiteY9" fmla="*/ 1637936 h 1944213"/>
              <a:gd name="connsiteX10" fmla="*/ 1136323 w 4435730"/>
              <a:gd name="connsiteY10" fmla="*/ 214427 h 1944213"/>
              <a:gd name="connsiteX11" fmla="*/ 1336667 w 4435730"/>
              <a:gd name="connsiteY11" fmla="*/ 150149 h 1944213"/>
              <a:gd name="connsiteX12" fmla="*/ 2371254 w 4435730"/>
              <a:gd name="connsiteY12" fmla="*/ 9052 h 1944213"/>
              <a:gd name="connsiteX13" fmla="*/ 1311624 w 4435730"/>
              <a:gd name="connsiteY13" fmla="*/ 65491 h 1944213"/>
              <a:gd name="connsiteX14" fmla="*/ 1097194 w 4435730"/>
              <a:gd name="connsiteY14" fmla="*/ 110956 h 1944213"/>
              <a:gd name="connsiteX15" fmla="*/ 1011109 w 4435730"/>
              <a:gd name="connsiteY15" fmla="*/ 134472 h 1944213"/>
              <a:gd name="connsiteX16" fmla="*/ 932850 w 4435730"/>
              <a:gd name="connsiteY16" fmla="*/ 156420 h 1944213"/>
              <a:gd name="connsiteX17" fmla="*/ 838939 w 4435730"/>
              <a:gd name="connsiteY17" fmla="*/ 187775 h 1944213"/>
              <a:gd name="connsiteX18" fmla="*/ 890590 w 4435730"/>
              <a:gd name="connsiteY18" fmla="*/ 306923 h 1944213"/>
              <a:gd name="connsiteX19" fmla="*/ 1136323 w 4435730"/>
              <a:gd name="connsiteY19" fmla="*/ 214427 h 194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35730" h="1944213">
                <a:moveTo>
                  <a:pt x="3764267" y="1637936"/>
                </a:moveTo>
                <a:cubicBezTo>
                  <a:pt x="3351059" y="1760220"/>
                  <a:pt x="2848635" y="1813523"/>
                  <a:pt x="2357167" y="1813523"/>
                </a:cubicBezTo>
                <a:cubicBezTo>
                  <a:pt x="1109715" y="1813523"/>
                  <a:pt x="305211" y="1446672"/>
                  <a:pt x="248864" y="962240"/>
                </a:cubicBezTo>
                <a:cubicBezTo>
                  <a:pt x="228517" y="780381"/>
                  <a:pt x="370949" y="603227"/>
                  <a:pt x="608857" y="452723"/>
                </a:cubicBezTo>
                <a:cubicBezTo>
                  <a:pt x="566597" y="421369"/>
                  <a:pt x="539988" y="371201"/>
                  <a:pt x="538423" y="314762"/>
                </a:cubicBezTo>
                <a:cubicBezTo>
                  <a:pt x="194083" y="496620"/>
                  <a:pt x="0" y="734917"/>
                  <a:pt x="0" y="976349"/>
                </a:cubicBezTo>
                <a:cubicBezTo>
                  <a:pt x="0" y="1510949"/>
                  <a:pt x="953197" y="1962459"/>
                  <a:pt x="2369688" y="1943646"/>
                </a:cubicBezTo>
                <a:cubicBezTo>
                  <a:pt x="2862721" y="1937375"/>
                  <a:pt x="3274365" y="1866827"/>
                  <a:pt x="3646878" y="1744543"/>
                </a:cubicBezTo>
                <a:cubicBezTo>
                  <a:pt x="4089825" y="1600311"/>
                  <a:pt x="4368428" y="1393369"/>
                  <a:pt x="4435731" y="1302440"/>
                </a:cubicBezTo>
                <a:cubicBezTo>
                  <a:pt x="4355907" y="1374556"/>
                  <a:pt x="4166520" y="1518788"/>
                  <a:pt x="3764267" y="1637936"/>
                </a:cubicBezTo>
                <a:close/>
                <a:moveTo>
                  <a:pt x="1136323" y="214427"/>
                </a:moveTo>
                <a:cubicBezTo>
                  <a:pt x="1219278" y="186207"/>
                  <a:pt x="1336667" y="150149"/>
                  <a:pt x="1336667" y="150149"/>
                </a:cubicBezTo>
                <a:cubicBezTo>
                  <a:pt x="1666921" y="59220"/>
                  <a:pt x="2031609" y="5917"/>
                  <a:pt x="2371254" y="9052"/>
                </a:cubicBezTo>
                <a:cubicBezTo>
                  <a:pt x="1979958" y="-14464"/>
                  <a:pt x="1623096" y="9052"/>
                  <a:pt x="1311624" y="65491"/>
                </a:cubicBezTo>
                <a:cubicBezTo>
                  <a:pt x="1311624" y="65491"/>
                  <a:pt x="1208322" y="82736"/>
                  <a:pt x="1097194" y="110956"/>
                </a:cubicBezTo>
                <a:cubicBezTo>
                  <a:pt x="1097194" y="110956"/>
                  <a:pt x="1043978" y="125065"/>
                  <a:pt x="1011109" y="134472"/>
                </a:cubicBezTo>
                <a:cubicBezTo>
                  <a:pt x="978240" y="143878"/>
                  <a:pt x="932850" y="156420"/>
                  <a:pt x="932850" y="156420"/>
                </a:cubicBezTo>
                <a:cubicBezTo>
                  <a:pt x="901546" y="165827"/>
                  <a:pt x="870242" y="176801"/>
                  <a:pt x="838939" y="187775"/>
                </a:cubicBezTo>
                <a:cubicBezTo>
                  <a:pt x="870242" y="219130"/>
                  <a:pt x="889024" y="259891"/>
                  <a:pt x="890590" y="306923"/>
                </a:cubicBezTo>
                <a:cubicBezTo>
                  <a:pt x="945371" y="281840"/>
                  <a:pt x="1050238" y="244214"/>
                  <a:pt x="1136323" y="214427"/>
                </a:cubicBezTo>
                <a:close/>
              </a:path>
            </a:pathLst>
          </a:custGeom>
          <a:solidFill>
            <a:srgbClr val="E30034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IFX_PresentationTitl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015D233-C9CC-4F11-A8E7-A76873C0D1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1"/>
            <a:ext cx="12193200" cy="5138663"/>
          </a:xfrm>
          <a:custGeom>
            <a:avLst/>
            <a:gdLst>
              <a:gd name="connsiteX0" fmla="*/ 0 w 12193200"/>
              <a:gd name="connsiteY0" fmla="*/ 3366965 h 5138663"/>
              <a:gd name="connsiteX1" fmla="*/ 2568673 w 12193200"/>
              <a:gd name="connsiteY1" fmla="*/ 4457302 h 5138663"/>
              <a:gd name="connsiteX2" fmla="*/ 2562846 w 12193200"/>
              <a:gd name="connsiteY2" fmla="*/ 4486161 h 5138663"/>
              <a:gd name="connsiteX3" fmla="*/ 2638446 w 12193200"/>
              <a:gd name="connsiteY3" fmla="*/ 4561761 h 5138663"/>
              <a:gd name="connsiteX4" fmla="*/ 2647610 w 12193200"/>
              <a:gd name="connsiteY4" fmla="*/ 4559911 h 5138663"/>
              <a:gd name="connsiteX5" fmla="*/ 2719581 w 12193200"/>
              <a:gd name="connsiteY5" fmla="*/ 5014319 h 5138663"/>
              <a:gd name="connsiteX6" fmla="*/ 0 w 12193200"/>
              <a:gd name="connsiteY6" fmla="*/ 5138663 h 5138663"/>
              <a:gd name="connsiteX7" fmla="*/ 9696955 w 12193200"/>
              <a:gd name="connsiteY7" fmla="*/ 2861324 h 5138663"/>
              <a:gd name="connsiteX8" fmla="*/ 8393835 w 12193200"/>
              <a:gd name="connsiteY8" fmla="*/ 4754883 h 5138663"/>
              <a:gd name="connsiteX9" fmla="*/ 2732347 w 12193200"/>
              <a:gd name="connsiteY9" fmla="*/ 5013736 h 5138663"/>
              <a:gd name="connsiteX10" fmla="*/ 2660069 w 12193200"/>
              <a:gd name="connsiteY10" fmla="*/ 4557396 h 5138663"/>
              <a:gd name="connsiteX11" fmla="*/ 2667873 w 12193200"/>
              <a:gd name="connsiteY11" fmla="*/ 4555820 h 5138663"/>
              <a:gd name="connsiteX12" fmla="*/ 2714046 w 12193200"/>
              <a:gd name="connsiteY12" fmla="*/ 4486161 h 5138663"/>
              <a:gd name="connsiteX13" fmla="*/ 2711595 w 12193200"/>
              <a:gd name="connsiteY13" fmla="*/ 4474021 h 5138663"/>
              <a:gd name="connsiteX14" fmla="*/ 12193200 w 12193200"/>
              <a:gd name="connsiteY14" fmla="*/ 2285021 h 5138663"/>
              <a:gd name="connsiteX15" fmla="*/ 12193200 w 12193200"/>
              <a:gd name="connsiteY15" fmla="*/ 4581170 h 5138663"/>
              <a:gd name="connsiteX16" fmla="*/ 8409753 w 12193200"/>
              <a:gd name="connsiteY16" fmla="*/ 4754155 h 5138663"/>
              <a:gd name="connsiteX17" fmla="*/ 9715284 w 12193200"/>
              <a:gd name="connsiteY17" fmla="*/ 2857093 h 5138663"/>
              <a:gd name="connsiteX18" fmla="*/ 11681495 w 12193200"/>
              <a:gd name="connsiteY18" fmla="*/ 0 h 5138663"/>
              <a:gd name="connsiteX19" fmla="*/ 12193200 w 12193200"/>
              <a:gd name="connsiteY19" fmla="*/ 0 h 5138663"/>
              <a:gd name="connsiteX20" fmla="*/ 12193200 w 12193200"/>
              <a:gd name="connsiteY20" fmla="*/ 2271987 h 5138663"/>
              <a:gd name="connsiteX21" fmla="*/ 9725948 w 12193200"/>
              <a:gd name="connsiteY21" fmla="*/ 2841597 h 5138663"/>
              <a:gd name="connsiteX22" fmla="*/ 0 w 12193200"/>
              <a:gd name="connsiteY22" fmla="*/ 0 h 5138663"/>
              <a:gd name="connsiteX23" fmla="*/ 11666079 w 12193200"/>
              <a:gd name="connsiteY23" fmla="*/ 0 h 5138663"/>
              <a:gd name="connsiteX24" fmla="*/ 9707619 w 12193200"/>
              <a:gd name="connsiteY24" fmla="*/ 2845829 h 5138663"/>
              <a:gd name="connsiteX25" fmla="*/ 2709081 w 12193200"/>
              <a:gd name="connsiteY25" fmla="*/ 4461568 h 5138663"/>
              <a:gd name="connsiteX26" fmla="*/ 2708105 w 12193200"/>
              <a:gd name="connsiteY26" fmla="*/ 4456734 h 5138663"/>
              <a:gd name="connsiteX27" fmla="*/ 2638446 w 12193200"/>
              <a:gd name="connsiteY27" fmla="*/ 4410561 h 5138663"/>
              <a:gd name="connsiteX28" fmla="*/ 2584989 w 12193200"/>
              <a:gd name="connsiteY28" fmla="*/ 4432704 h 5138663"/>
              <a:gd name="connsiteX29" fmla="*/ 2575696 w 12193200"/>
              <a:gd name="connsiteY29" fmla="*/ 4446487 h 5138663"/>
              <a:gd name="connsiteX30" fmla="*/ 0 w 12193200"/>
              <a:gd name="connsiteY30" fmla="*/ 3353169 h 5138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38663">
                <a:moveTo>
                  <a:pt x="0" y="3366965"/>
                </a:moveTo>
                <a:lnTo>
                  <a:pt x="2568673" y="4457302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10" y="4559911"/>
                </a:lnTo>
                <a:lnTo>
                  <a:pt x="2719581" y="5014319"/>
                </a:lnTo>
                <a:lnTo>
                  <a:pt x="0" y="5138663"/>
                </a:lnTo>
                <a:close/>
                <a:moveTo>
                  <a:pt x="9696955" y="2861324"/>
                </a:moveTo>
                <a:lnTo>
                  <a:pt x="8393835" y="4754883"/>
                </a:lnTo>
                <a:lnTo>
                  <a:pt x="2732347" y="5013736"/>
                </a:lnTo>
                <a:lnTo>
                  <a:pt x="2660069" y="4557396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95" y="4474021"/>
                </a:lnTo>
                <a:close/>
                <a:moveTo>
                  <a:pt x="12193200" y="2285021"/>
                </a:moveTo>
                <a:lnTo>
                  <a:pt x="12193200" y="4581170"/>
                </a:lnTo>
                <a:lnTo>
                  <a:pt x="8409753" y="4754155"/>
                </a:lnTo>
                <a:lnTo>
                  <a:pt x="9715284" y="2857093"/>
                </a:lnTo>
                <a:close/>
                <a:moveTo>
                  <a:pt x="11681495" y="0"/>
                </a:moveTo>
                <a:lnTo>
                  <a:pt x="12193200" y="0"/>
                </a:lnTo>
                <a:lnTo>
                  <a:pt x="12193200" y="2271987"/>
                </a:lnTo>
                <a:lnTo>
                  <a:pt x="9725948" y="2841597"/>
                </a:lnTo>
                <a:close/>
                <a:moveTo>
                  <a:pt x="0" y="0"/>
                </a:moveTo>
                <a:lnTo>
                  <a:pt x="11666079" y="0"/>
                </a:lnTo>
                <a:lnTo>
                  <a:pt x="9707619" y="2845829"/>
                </a:lnTo>
                <a:lnTo>
                  <a:pt x="2709081" y="4461568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696" y="4446487"/>
                </a:lnTo>
                <a:lnTo>
                  <a:pt x="0" y="3353169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tIns="0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417" y="1240539"/>
            <a:ext cx="8280000" cy="6477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ADDB2795-DB3B-40A3-B89C-858C63FC06F1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0E8F659-6D17-4A54-BF14-8E3536EAD1C1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83B5BA-723A-4405-A758-172E5648B93E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IFX_PresentationTitl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AFE04B5B-4266-446C-AFD4-7F662DB99088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78FA743-D255-4464-8B0A-0C6C3C86AF6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20" y="1"/>
            <a:ext cx="12192000" cy="3914479"/>
          </a:xfrm>
          <a:custGeom>
            <a:avLst/>
            <a:gdLst>
              <a:gd name="connsiteX0" fmla="*/ 0 w 12192000"/>
              <a:gd name="connsiteY0" fmla="*/ 754254 h 3914479"/>
              <a:gd name="connsiteX1" fmla="*/ 3718844 w 12192000"/>
              <a:gd name="connsiteY1" fmla="*/ 1409987 h 3914479"/>
              <a:gd name="connsiteX2" fmla="*/ 3717075 w 12192000"/>
              <a:gd name="connsiteY2" fmla="*/ 1418748 h 3914479"/>
              <a:gd name="connsiteX3" fmla="*/ 3792675 w 12192000"/>
              <a:gd name="connsiteY3" fmla="*/ 1494348 h 3914479"/>
              <a:gd name="connsiteX4" fmla="*/ 3822102 w 12192000"/>
              <a:gd name="connsiteY4" fmla="*/ 1488407 h 3914479"/>
              <a:gd name="connsiteX5" fmla="*/ 3827476 w 12192000"/>
              <a:gd name="connsiteY5" fmla="*/ 1484784 h 3914479"/>
              <a:gd name="connsiteX6" fmla="*/ 4940342 w 12192000"/>
              <a:gd name="connsiteY6" fmla="*/ 3668903 h 3914479"/>
              <a:gd name="connsiteX7" fmla="*/ 1040095 w 12192000"/>
              <a:gd name="connsiteY7" fmla="*/ 3866924 h 3914479"/>
              <a:gd name="connsiteX8" fmla="*/ 0 w 12192000"/>
              <a:gd name="connsiteY8" fmla="*/ 3914479 h 3914479"/>
              <a:gd name="connsiteX9" fmla="*/ 8538152 w 12192000"/>
              <a:gd name="connsiteY9" fmla="*/ 0 h 3914479"/>
              <a:gd name="connsiteX10" fmla="*/ 12192000 w 12192000"/>
              <a:gd name="connsiteY10" fmla="*/ 0 h 3914479"/>
              <a:gd name="connsiteX11" fmla="*/ 12192000 w 12192000"/>
              <a:gd name="connsiteY11" fmla="*/ 1782101 h 3914479"/>
              <a:gd name="connsiteX12" fmla="*/ 4684292 w 12192000"/>
              <a:gd name="connsiteY12" fmla="*/ 0 h 3914479"/>
              <a:gd name="connsiteX13" fmla="*/ 8509181 w 12192000"/>
              <a:gd name="connsiteY13" fmla="*/ 0 h 3914479"/>
              <a:gd name="connsiteX14" fmla="*/ 12192000 w 12192000"/>
              <a:gd name="connsiteY14" fmla="*/ 1796231 h 3914479"/>
              <a:gd name="connsiteX15" fmla="*/ 12192000 w 12192000"/>
              <a:gd name="connsiteY15" fmla="*/ 3300727 h 3914479"/>
              <a:gd name="connsiteX16" fmla="*/ 4954235 w 12192000"/>
              <a:gd name="connsiteY16" fmla="*/ 3668198 h 3914479"/>
              <a:gd name="connsiteX17" fmla="*/ 3838086 w 12192000"/>
              <a:gd name="connsiteY17" fmla="*/ 1477631 h 3914479"/>
              <a:gd name="connsiteX18" fmla="*/ 3846133 w 12192000"/>
              <a:gd name="connsiteY18" fmla="*/ 1472206 h 3914479"/>
              <a:gd name="connsiteX19" fmla="*/ 3868275 w 12192000"/>
              <a:gd name="connsiteY19" fmla="*/ 1418748 h 3914479"/>
              <a:gd name="connsiteX20" fmla="*/ 3846133 w 12192000"/>
              <a:gd name="connsiteY20" fmla="*/ 1365291 h 3914479"/>
              <a:gd name="connsiteX21" fmla="*/ 3835600 w 12192000"/>
              <a:gd name="connsiteY21" fmla="*/ 1358189 h 3914479"/>
              <a:gd name="connsiteX22" fmla="*/ 0 w 12192000"/>
              <a:gd name="connsiteY22" fmla="*/ 0 h 3914479"/>
              <a:gd name="connsiteX23" fmla="*/ 4669316 w 12192000"/>
              <a:gd name="connsiteY23" fmla="*/ 0 h 3914479"/>
              <a:gd name="connsiteX24" fmla="*/ 3825063 w 12192000"/>
              <a:gd name="connsiteY24" fmla="*/ 1351086 h 3914479"/>
              <a:gd name="connsiteX25" fmla="*/ 3822102 w 12192000"/>
              <a:gd name="connsiteY25" fmla="*/ 1349089 h 3914479"/>
              <a:gd name="connsiteX26" fmla="*/ 3792675 w 12192000"/>
              <a:gd name="connsiteY26" fmla="*/ 1343148 h 3914479"/>
              <a:gd name="connsiteX27" fmla="*/ 3723016 w 12192000"/>
              <a:gd name="connsiteY27" fmla="*/ 1389321 h 3914479"/>
              <a:gd name="connsiteX28" fmla="*/ 3721358 w 12192000"/>
              <a:gd name="connsiteY28" fmla="*/ 1397534 h 3914479"/>
              <a:gd name="connsiteX29" fmla="*/ 0 w 12192000"/>
              <a:gd name="connsiteY29" fmla="*/ 741358 h 3914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2192000" h="3914479">
                <a:moveTo>
                  <a:pt x="0" y="754254"/>
                </a:moveTo>
                <a:lnTo>
                  <a:pt x="3718844" y="1409987"/>
                </a:lnTo>
                <a:lnTo>
                  <a:pt x="3717075" y="1418748"/>
                </a:lnTo>
                <a:cubicBezTo>
                  <a:pt x="3717075" y="1460501"/>
                  <a:pt x="3750922" y="1494348"/>
                  <a:pt x="3792675" y="1494348"/>
                </a:cubicBezTo>
                <a:cubicBezTo>
                  <a:pt x="3803114" y="1494348"/>
                  <a:pt x="3813058" y="1492233"/>
                  <a:pt x="3822102" y="1488407"/>
                </a:cubicBezTo>
                <a:lnTo>
                  <a:pt x="3827476" y="1484784"/>
                </a:lnTo>
                <a:lnTo>
                  <a:pt x="4940342" y="3668903"/>
                </a:lnTo>
                <a:lnTo>
                  <a:pt x="1040095" y="3866924"/>
                </a:lnTo>
                <a:lnTo>
                  <a:pt x="0" y="3914479"/>
                </a:lnTo>
                <a:close/>
                <a:moveTo>
                  <a:pt x="8538152" y="0"/>
                </a:moveTo>
                <a:lnTo>
                  <a:pt x="12192000" y="0"/>
                </a:lnTo>
                <a:lnTo>
                  <a:pt x="12192000" y="1782101"/>
                </a:lnTo>
                <a:close/>
                <a:moveTo>
                  <a:pt x="4684292" y="0"/>
                </a:moveTo>
                <a:lnTo>
                  <a:pt x="8509181" y="0"/>
                </a:lnTo>
                <a:lnTo>
                  <a:pt x="12192000" y="1796231"/>
                </a:lnTo>
                <a:lnTo>
                  <a:pt x="12192000" y="3300727"/>
                </a:lnTo>
                <a:lnTo>
                  <a:pt x="4954235" y="3668198"/>
                </a:lnTo>
                <a:lnTo>
                  <a:pt x="3838086" y="1477631"/>
                </a:lnTo>
                <a:lnTo>
                  <a:pt x="3846133" y="1472206"/>
                </a:lnTo>
                <a:cubicBezTo>
                  <a:pt x="3859814" y="1458525"/>
                  <a:pt x="3868275" y="1439625"/>
                  <a:pt x="3868275" y="1418748"/>
                </a:cubicBezTo>
                <a:cubicBezTo>
                  <a:pt x="3868275" y="1397872"/>
                  <a:pt x="3859814" y="1378972"/>
                  <a:pt x="3846133" y="1365291"/>
                </a:cubicBezTo>
                <a:lnTo>
                  <a:pt x="3835600" y="1358189"/>
                </a:lnTo>
                <a:close/>
                <a:moveTo>
                  <a:pt x="0" y="0"/>
                </a:moveTo>
                <a:lnTo>
                  <a:pt x="4669316" y="0"/>
                </a:lnTo>
                <a:lnTo>
                  <a:pt x="3825063" y="1351086"/>
                </a:lnTo>
                <a:lnTo>
                  <a:pt x="3822102" y="1349089"/>
                </a:lnTo>
                <a:cubicBezTo>
                  <a:pt x="3813058" y="1345264"/>
                  <a:pt x="3803114" y="1343148"/>
                  <a:pt x="3792675" y="1343148"/>
                </a:cubicBezTo>
                <a:cubicBezTo>
                  <a:pt x="3761361" y="1343148"/>
                  <a:pt x="3734493" y="1362187"/>
                  <a:pt x="3723016" y="1389321"/>
                </a:cubicBezTo>
                <a:lnTo>
                  <a:pt x="3721358" y="1397534"/>
                </a:lnTo>
                <a:lnTo>
                  <a:pt x="0" y="741358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9032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7D4C4BA3-EB41-4D16-AC7A-1D39D9C25FCF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F453EFB-4C66-424D-935B-1B2057CC2B64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26861E4-4C53-40F8-8225-0CFFDC5696CD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FX_PresentationTitle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1AFC5FC0-8899-46D7-81F3-E691DED69C5B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Background White">
            <a:extLst>
              <a:ext uri="{FF2B5EF4-FFF2-40B4-BE49-F238E27FC236}">
                <a16:creationId xmlns:a16="http://schemas.microsoft.com/office/drawing/2014/main" id="{11199FE4-A164-44CF-AA03-877B11877F50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AA4B13D-C5E4-4396-AE89-5B44F620D20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850960" y="0"/>
            <a:ext cx="4344215" cy="3439727"/>
          </a:xfrm>
          <a:custGeom>
            <a:avLst/>
            <a:gdLst>
              <a:gd name="connsiteX0" fmla="*/ 575284 w 4344215"/>
              <a:gd name="connsiteY0" fmla="*/ 0 h 3439727"/>
              <a:gd name="connsiteX1" fmla="*/ 4344215 w 4344215"/>
              <a:gd name="connsiteY1" fmla="*/ 0 h 3439727"/>
              <a:gd name="connsiteX2" fmla="*/ 4344215 w 4344215"/>
              <a:gd name="connsiteY2" fmla="*/ 3291560 h 3439727"/>
              <a:gd name="connsiteX3" fmla="*/ 1425892 w 4344215"/>
              <a:gd name="connsiteY3" fmla="*/ 3439727 h 3439727"/>
              <a:gd name="connsiteX4" fmla="*/ 30731 w 4344215"/>
              <a:gd name="connsiteY4" fmla="*/ 1890244 h 3439727"/>
              <a:gd name="connsiteX5" fmla="*/ 44102 w 4344215"/>
              <a:gd name="connsiteY5" fmla="*/ 1870411 h 3439727"/>
              <a:gd name="connsiteX6" fmla="*/ 50043 w 4344215"/>
              <a:gd name="connsiteY6" fmla="*/ 1840984 h 3439727"/>
              <a:gd name="connsiteX7" fmla="*/ 3870 w 4344215"/>
              <a:gd name="connsiteY7" fmla="*/ 1771325 h 3439727"/>
              <a:gd name="connsiteX8" fmla="*/ 0 w 4344215"/>
              <a:gd name="connsiteY8" fmla="*/ 1770544 h 3439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44215" h="3439727">
                <a:moveTo>
                  <a:pt x="575284" y="0"/>
                </a:moveTo>
                <a:lnTo>
                  <a:pt x="4344215" y="0"/>
                </a:lnTo>
                <a:lnTo>
                  <a:pt x="4344215" y="3291560"/>
                </a:lnTo>
                <a:lnTo>
                  <a:pt x="1425892" y="3439727"/>
                </a:lnTo>
                <a:lnTo>
                  <a:pt x="30731" y="1890244"/>
                </a:lnTo>
                <a:lnTo>
                  <a:pt x="44102" y="1870411"/>
                </a:lnTo>
                <a:cubicBezTo>
                  <a:pt x="47928" y="1861366"/>
                  <a:pt x="50043" y="1851422"/>
                  <a:pt x="50043" y="1840984"/>
                </a:cubicBezTo>
                <a:cubicBezTo>
                  <a:pt x="50043" y="1809669"/>
                  <a:pt x="31004" y="1782802"/>
                  <a:pt x="3870" y="1771325"/>
                </a:cubicBezTo>
                <a:lnTo>
                  <a:pt x="0" y="17705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D7FAA3EB-4EA2-4D79-807B-405B94E041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24894" y="1"/>
            <a:ext cx="5635624" cy="3690265"/>
          </a:xfrm>
          <a:custGeom>
            <a:avLst/>
            <a:gdLst>
              <a:gd name="connsiteX0" fmla="*/ 4142496 w 5635624"/>
              <a:gd name="connsiteY0" fmla="*/ 1887683 h 3690265"/>
              <a:gd name="connsiteX1" fmla="*/ 4147052 w 5635624"/>
              <a:gd name="connsiteY1" fmla="*/ 1894440 h 3690265"/>
              <a:gd name="connsiteX2" fmla="*/ 4200509 w 5635624"/>
              <a:gd name="connsiteY2" fmla="*/ 1916583 h 3690265"/>
              <a:gd name="connsiteX3" fmla="*/ 4229936 w 5635624"/>
              <a:gd name="connsiteY3" fmla="*/ 1910642 h 3690265"/>
              <a:gd name="connsiteX4" fmla="*/ 4232083 w 5635624"/>
              <a:gd name="connsiteY4" fmla="*/ 1909195 h 3690265"/>
              <a:gd name="connsiteX5" fmla="*/ 4247451 w 5635624"/>
              <a:gd name="connsiteY5" fmla="*/ 1898834 h 3690265"/>
              <a:gd name="connsiteX6" fmla="*/ 5635624 w 5635624"/>
              <a:gd name="connsiteY6" fmla="*/ 3440556 h 3690265"/>
              <a:gd name="connsiteX7" fmla="*/ 1825021 w 5635624"/>
              <a:gd name="connsiteY7" fmla="*/ 3634026 h 3690265"/>
              <a:gd name="connsiteX8" fmla="*/ 0 w 5635624"/>
              <a:gd name="connsiteY8" fmla="*/ 0 h 3690265"/>
              <a:gd name="connsiteX9" fmla="*/ 4787988 w 5635624"/>
              <a:gd name="connsiteY9" fmla="*/ 0 h 3690265"/>
              <a:gd name="connsiteX10" fmla="*/ 4213526 w 5635624"/>
              <a:gd name="connsiteY10" fmla="*/ 1768011 h 3690265"/>
              <a:gd name="connsiteX11" fmla="*/ 4200509 w 5635624"/>
              <a:gd name="connsiteY11" fmla="*/ 1765383 h 3690265"/>
              <a:gd name="connsiteX12" fmla="*/ 4124909 w 5635624"/>
              <a:gd name="connsiteY12" fmla="*/ 1840983 h 3690265"/>
              <a:gd name="connsiteX13" fmla="*/ 4130850 w 5635624"/>
              <a:gd name="connsiteY13" fmla="*/ 1870410 h 3690265"/>
              <a:gd name="connsiteX14" fmla="*/ 4135387 w 5635624"/>
              <a:gd name="connsiteY14" fmla="*/ 1877139 h 3690265"/>
              <a:gd name="connsiteX15" fmla="*/ 1802395 w 5635624"/>
              <a:gd name="connsiteY15" fmla="*/ 3635174 h 3690265"/>
              <a:gd name="connsiteX16" fmla="*/ 717315 w 5635624"/>
              <a:gd name="connsiteY16" fmla="*/ 3690265 h 3690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35624" h="3690265">
                <a:moveTo>
                  <a:pt x="4142496" y="1887683"/>
                </a:moveTo>
                <a:lnTo>
                  <a:pt x="4147052" y="1894440"/>
                </a:lnTo>
                <a:cubicBezTo>
                  <a:pt x="4160733" y="1908121"/>
                  <a:pt x="4179633" y="1916583"/>
                  <a:pt x="4200509" y="1916583"/>
                </a:cubicBezTo>
                <a:cubicBezTo>
                  <a:pt x="4210947" y="1916583"/>
                  <a:pt x="4220892" y="1914468"/>
                  <a:pt x="4229936" y="1910642"/>
                </a:cubicBezTo>
                <a:lnTo>
                  <a:pt x="4232083" y="1909195"/>
                </a:lnTo>
                <a:lnTo>
                  <a:pt x="4247451" y="1898834"/>
                </a:lnTo>
                <a:lnTo>
                  <a:pt x="5635624" y="3440556"/>
                </a:lnTo>
                <a:lnTo>
                  <a:pt x="1825021" y="3634026"/>
                </a:lnTo>
                <a:close/>
                <a:moveTo>
                  <a:pt x="0" y="0"/>
                </a:moveTo>
                <a:lnTo>
                  <a:pt x="4787988" y="0"/>
                </a:lnTo>
                <a:lnTo>
                  <a:pt x="4213526" y="1768011"/>
                </a:lnTo>
                <a:lnTo>
                  <a:pt x="4200509" y="1765383"/>
                </a:lnTo>
                <a:cubicBezTo>
                  <a:pt x="4158756" y="1765383"/>
                  <a:pt x="4124909" y="1799230"/>
                  <a:pt x="4124909" y="1840983"/>
                </a:cubicBezTo>
                <a:cubicBezTo>
                  <a:pt x="4124909" y="1851421"/>
                  <a:pt x="4127025" y="1861365"/>
                  <a:pt x="4130850" y="1870410"/>
                </a:cubicBezTo>
                <a:lnTo>
                  <a:pt x="4135387" y="1877139"/>
                </a:lnTo>
                <a:lnTo>
                  <a:pt x="1802395" y="3635174"/>
                </a:lnTo>
                <a:lnTo>
                  <a:pt x="717315" y="369026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31EEC104-B33B-4D08-B54C-1059153CA59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" y="0"/>
            <a:ext cx="4331116" cy="3910485"/>
          </a:xfrm>
          <a:custGeom>
            <a:avLst/>
            <a:gdLst>
              <a:gd name="connsiteX0" fmla="*/ 0 w 4331116"/>
              <a:gd name="connsiteY0" fmla="*/ 0 h 3910485"/>
              <a:gd name="connsiteX1" fmla="*/ 3613691 w 4331116"/>
              <a:gd name="connsiteY1" fmla="*/ 0 h 3910485"/>
              <a:gd name="connsiteX2" fmla="*/ 4331116 w 4331116"/>
              <a:gd name="connsiteY2" fmla="*/ 3690829 h 3910485"/>
              <a:gd name="connsiteX3" fmla="*/ 4726 w 4331116"/>
              <a:gd name="connsiteY3" fmla="*/ 3910485 h 3910485"/>
              <a:gd name="connsiteX4" fmla="*/ 0 w 4331116"/>
              <a:gd name="connsiteY4" fmla="*/ 3910485 h 3910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1116" h="3910485">
                <a:moveTo>
                  <a:pt x="0" y="0"/>
                </a:moveTo>
                <a:lnTo>
                  <a:pt x="3613691" y="0"/>
                </a:lnTo>
                <a:lnTo>
                  <a:pt x="4331116" y="3690829"/>
                </a:lnTo>
                <a:lnTo>
                  <a:pt x="4726" y="3910485"/>
                </a:lnTo>
                <a:lnTo>
                  <a:pt x="0" y="391048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6C91DFA2-3F65-4B14-A4D0-4B6032B03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8800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5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7" name="empower_classification_attention_placeholder" hidden="1">
            <a:extLst>
              <a:ext uri="{FF2B5EF4-FFF2-40B4-BE49-F238E27FC236}">
                <a16:creationId xmlns:a16="http://schemas.microsoft.com/office/drawing/2014/main" id="{BFD2749C-34D6-4E79-BBA4-4241F8134AE4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empower_classification_placeholder">
            <a:extLst>
              <a:ext uri="{FF2B5EF4-FFF2-40B4-BE49-F238E27FC236}">
                <a16:creationId xmlns:a16="http://schemas.microsoft.com/office/drawing/2014/main" id="{907AF50E-1583-452E-8849-A76F308B347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document_placeholder" hidden="1">
            <a:extLst>
              <a:ext uri="{FF2B5EF4-FFF2-40B4-BE49-F238E27FC236}">
                <a16:creationId xmlns:a16="http://schemas.microsoft.com/office/drawing/2014/main" id="{381C3FE7-5D2D-4422-B17C-1335687645D8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21" name="empower_draft_placeholder" hidden="1">
            <a:extLst>
              <a:ext uri="{FF2B5EF4-FFF2-40B4-BE49-F238E27FC236}">
                <a16:creationId xmlns:a16="http://schemas.microsoft.com/office/drawing/2014/main" id="{28047F79-0D17-499E-93DF-8D4A0F6C0EB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D2E933FD-444A-48FB-B09D-535A3E31856D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F0F64E4-3ECD-4DA7-9071-88422566879B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A824C84-95A2-4E55-BBD1-9A8DDECAB2F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1" name="MIO_AGENDA_IGNORE_NAVIGATION" hidden="1">
            <a:extLst>
              <a:ext uri="{FF2B5EF4-FFF2-40B4-BE49-F238E27FC236}">
                <a16:creationId xmlns:a16="http://schemas.microsoft.com/office/drawing/2014/main" id="{73923FBC-8302-46A2-AAEF-9F2F1FFC31B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B9EE8F10-F396-4FB2-BAE1-D8AE2940E4D3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DFF1ACC-A53B-464A-B036-465BC7BE3C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4665AA8-8CF0-4329-862C-7F59DB27D4F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DE7C452-06CA-4B5F-B462-4F463B2E49B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536414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IFX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FX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FX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mpower_document_placeholder" hidden="1">
            <a:extLst>
              <a:ext uri="{FF2B5EF4-FFF2-40B4-BE49-F238E27FC236}">
                <a16:creationId xmlns:a16="http://schemas.microsoft.com/office/drawing/2014/main" id="{FFF0FC12-D2C8-4BAD-95E2-CE9BB9B049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9" name="empower_proprietary_placeholder" hidden="1">
            <a:extLst>
              <a:ext uri="{FF2B5EF4-FFF2-40B4-BE49-F238E27FC236}">
                <a16:creationId xmlns:a16="http://schemas.microsoft.com/office/drawing/2014/main" id="{0BDDFA46-F5B0-4BB6-87E6-3417954792B2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additionalText_placeholder" hidden="1">
            <a:extLst>
              <a:ext uri="{FF2B5EF4-FFF2-40B4-BE49-F238E27FC236}">
                <a16:creationId xmlns:a16="http://schemas.microsoft.com/office/drawing/2014/main" id="{5769E316-91CB-4D6E-B73F-31C3CCEAAFE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raft_placeholder" hidden="1">
            <a:extLst>
              <a:ext uri="{FF2B5EF4-FFF2-40B4-BE49-F238E27FC236}">
                <a16:creationId xmlns:a16="http://schemas.microsoft.com/office/drawing/2014/main" id="{EB5D3F4D-E18D-43D6-BC78-7B42138EAE8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2828881E-C881-4A10-9684-6DDF4156ECC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2" name="empower_classification_attention_placeholder" hidden="1">
            <a:extLst>
              <a:ext uri="{FF2B5EF4-FFF2-40B4-BE49-F238E27FC236}">
                <a16:creationId xmlns:a16="http://schemas.microsoft.com/office/drawing/2014/main" id="{DB33BF1D-F784-46C4-9C51-BC117FD6E082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3" name="empower_classification_placeholder">
            <a:extLst>
              <a:ext uri="{FF2B5EF4-FFF2-40B4-BE49-F238E27FC236}">
                <a16:creationId xmlns:a16="http://schemas.microsoft.com/office/drawing/2014/main" id="{96A62A3F-8D88-4727-B106-3B0FFAC6898D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0D4C3B03-A49F-481B-9F5A-D907E4D8C35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38" name="Topic 1"/>
          <p:cNvSpPr>
            <a:spLocks noGrp="1"/>
          </p:cNvSpPr>
          <p:nvPr>
            <p:ph type="body" idx="17" hasCustomPrompt="1"/>
          </p:nvPr>
        </p:nvSpPr>
        <p:spPr>
          <a:xfrm>
            <a:off x="1235075" y="1268412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39" name="Topic 2"/>
          <p:cNvSpPr>
            <a:spLocks noGrp="1"/>
          </p:cNvSpPr>
          <p:nvPr>
            <p:ph type="body" sz="quarter" idx="18" hasCustomPrompt="1"/>
          </p:nvPr>
        </p:nvSpPr>
        <p:spPr>
          <a:xfrm>
            <a:off x="1235075" y="1916493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0" name="Topic 3"/>
          <p:cNvSpPr>
            <a:spLocks noGrp="1"/>
          </p:cNvSpPr>
          <p:nvPr>
            <p:ph type="body" sz="quarter" idx="19" hasCustomPrompt="1"/>
          </p:nvPr>
        </p:nvSpPr>
        <p:spPr>
          <a:xfrm>
            <a:off x="1235075" y="256457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1" name="Topic 4"/>
          <p:cNvSpPr>
            <a:spLocks noGrp="1"/>
          </p:cNvSpPr>
          <p:nvPr>
            <p:ph type="body" sz="quarter" idx="20" hasCustomPrompt="1"/>
          </p:nvPr>
        </p:nvSpPr>
        <p:spPr>
          <a:xfrm>
            <a:off x="1235075" y="321265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2" name="Topic 5"/>
          <p:cNvSpPr>
            <a:spLocks noGrp="1"/>
          </p:cNvSpPr>
          <p:nvPr>
            <p:ph type="body" sz="quarter" idx="21" hasCustomPrompt="1"/>
          </p:nvPr>
        </p:nvSpPr>
        <p:spPr>
          <a:xfrm>
            <a:off x="1235075" y="3860736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3" name="Topic 6"/>
          <p:cNvSpPr>
            <a:spLocks noGrp="1"/>
          </p:cNvSpPr>
          <p:nvPr>
            <p:ph type="body" sz="quarter" idx="22" hasCustomPrompt="1"/>
          </p:nvPr>
        </p:nvSpPr>
        <p:spPr>
          <a:xfrm>
            <a:off x="1235075" y="4508817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4" name="Topic 7"/>
          <p:cNvSpPr>
            <a:spLocks noGrp="1"/>
          </p:cNvSpPr>
          <p:nvPr>
            <p:ph type="body" sz="quarter" idx="23" hasCustomPrompt="1"/>
          </p:nvPr>
        </p:nvSpPr>
        <p:spPr>
          <a:xfrm>
            <a:off x="1235075" y="515689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5" name="Topic 8"/>
          <p:cNvSpPr>
            <a:spLocks noGrp="1"/>
          </p:cNvSpPr>
          <p:nvPr>
            <p:ph type="body" sz="quarter" idx="24" hasCustomPrompt="1"/>
          </p:nvPr>
        </p:nvSpPr>
        <p:spPr>
          <a:xfrm>
            <a:off x="1235075" y="580497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6" name="No 1"/>
          <p:cNvSpPr>
            <a:spLocks noGrp="1"/>
          </p:cNvSpPr>
          <p:nvPr>
            <p:ph type="body" idx="28" hasCustomPrompt="1"/>
          </p:nvPr>
        </p:nvSpPr>
        <p:spPr>
          <a:xfrm>
            <a:off x="334433" y="1268412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7" name="No 2"/>
          <p:cNvSpPr>
            <a:spLocks noGrp="1"/>
          </p:cNvSpPr>
          <p:nvPr>
            <p:ph type="body" idx="29" hasCustomPrompt="1"/>
          </p:nvPr>
        </p:nvSpPr>
        <p:spPr>
          <a:xfrm>
            <a:off x="334433" y="1916593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8" name="No 3"/>
          <p:cNvSpPr>
            <a:spLocks noGrp="1"/>
          </p:cNvSpPr>
          <p:nvPr>
            <p:ph type="body" idx="30" hasCustomPrompt="1"/>
          </p:nvPr>
        </p:nvSpPr>
        <p:spPr>
          <a:xfrm>
            <a:off x="334433" y="256477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9" name="No 4"/>
          <p:cNvSpPr>
            <a:spLocks noGrp="1"/>
          </p:cNvSpPr>
          <p:nvPr>
            <p:ph type="body" idx="31" hasCustomPrompt="1"/>
          </p:nvPr>
        </p:nvSpPr>
        <p:spPr>
          <a:xfrm>
            <a:off x="334433" y="321295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0" name="No 5"/>
          <p:cNvSpPr>
            <a:spLocks noGrp="1"/>
          </p:cNvSpPr>
          <p:nvPr>
            <p:ph type="body" idx="32" hasCustomPrompt="1"/>
          </p:nvPr>
        </p:nvSpPr>
        <p:spPr>
          <a:xfrm>
            <a:off x="334433" y="3861136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1" name="No 6"/>
          <p:cNvSpPr>
            <a:spLocks noGrp="1"/>
          </p:cNvSpPr>
          <p:nvPr>
            <p:ph type="body" idx="33" hasCustomPrompt="1"/>
          </p:nvPr>
        </p:nvSpPr>
        <p:spPr>
          <a:xfrm>
            <a:off x="334433" y="4509317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2" name="No 7"/>
          <p:cNvSpPr>
            <a:spLocks noGrp="1"/>
          </p:cNvSpPr>
          <p:nvPr>
            <p:ph type="body" idx="34" hasCustomPrompt="1"/>
          </p:nvPr>
        </p:nvSpPr>
        <p:spPr>
          <a:xfrm>
            <a:off x="334433" y="515749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3" name="No 8"/>
          <p:cNvSpPr>
            <a:spLocks noGrp="1"/>
          </p:cNvSpPr>
          <p:nvPr>
            <p:ph type="body" idx="35" hasCustomPrompt="1"/>
          </p:nvPr>
        </p:nvSpPr>
        <p:spPr>
          <a:xfrm>
            <a:off x="334433" y="580567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B94D8A8-4B77-4829-982D-1A3D414A0E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7EB33F8-02F3-4EEB-93FB-9B514FC31E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9C70D32-2EA3-441D-A93F-DF718BFCDEBA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95A5B893-AEEA-4A9B-834F-0AED2489648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9D36A4-A38C-4A9D-95E1-B4D140908E0C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9C62616-E1F5-4B62-8560-97C66E1D1A89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91BD0683-2F82-4B08-96F8-5CAC7C42B277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799">
          <p15:clr>
            <a:srgbClr val="FBAE40"/>
          </p15:clr>
        </p15:guide>
        <p15:guide id="5" orient="horz" pos="40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FX_Title_and_Tw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FX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grpSp>
        <p:nvGrpSpPr>
          <p:cNvPr id="10" name="Lines"/>
          <p:cNvGrpSpPr/>
          <p:nvPr/>
        </p:nvGrpSpPr>
        <p:grpSpPr>
          <a:xfrm>
            <a:off x="-35982" y="0"/>
            <a:ext cx="12227983" cy="5733256"/>
            <a:chOff x="-26987" y="0"/>
            <a:chExt cx="9170987" cy="5733256"/>
          </a:xfrm>
          <a:solidFill>
            <a:schemeClr val="accent3"/>
          </a:solidFill>
        </p:grpSpPr>
        <p:cxnSp>
          <p:nvCxnSpPr>
            <p:cNvPr id="11" name="Gerade Verbindung 5"/>
            <p:cNvCxnSpPr/>
            <p:nvPr/>
          </p:nvCxnSpPr>
          <p:spPr>
            <a:xfrm flipH="1">
              <a:off x="3587742" y="2708920"/>
              <a:ext cx="5556256" cy="212799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0"/>
            <p:cNvCxnSpPr/>
            <p:nvPr/>
          </p:nvCxnSpPr>
          <p:spPr>
            <a:xfrm flipH="1" flipV="1">
              <a:off x="3587741" y="4836910"/>
              <a:ext cx="264179" cy="896346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"/>
            <p:cNvCxnSpPr/>
            <p:nvPr/>
          </p:nvCxnSpPr>
          <p:spPr>
            <a:xfrm flipH="1" flipV="1">
              <a:off x="-26987" y="3429646"/>
              <a:ext cx="3614729" cy="1407264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6"/>
            <p:cNvCxnSpPr/>
            <p:nvPr/>
          </p:nvCxnSpPr>
          <p:spPr>
            <a:xfrm flipH="1" flipV="1">
              <a:off x="5652120" y="0"/>
              <a:ext cx="3491880" cy="414908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Ellipse 6"/>
            <p:cNvSpPr/>
            <p:nvPr/>
          </p:nvSpPr>
          <p:spPr bwMode="auto">
            <a:xfrm>
              <a:off x="3535623" y="4765225"/>
              <a:ext cx="108000" cy="14400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algn="ctr" eaLnBrk="0" hangingPunct="0"/>
              <a:endParaRPr lang="en-US" sz="2133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7" name="Background Shape">
            <a:extLst>
              <a:ext uri="{FF2B5EF4-FFF2-40B4-BE49-F238E27FC236}">
                <a16:creationId xmlns:a16="http://schemas.microsoft.com/office/drawing/2014/main" id="{53E8A2FC-E199-464B-B567-84BD0308D940}"/>
              </a:ext>
            </a:extLst>
          </p:cNvPr>
          <p:cNvSpPr/>
          <p:nvPr userDrawn="1"/>
        </p:nvSpPr>
        <p:spPr bwMode="auto">
          <a:xfrm>
            <a:off x="0" y="4966780"/>
            <a:ext cx="12197369" cy="1891220"/>
          </a:xfrm>
          <a:custGeom>
            <a:avLst/>
            <a:gdLst>
              <a:gd name="connsiteX0" fmla="*/ 9113004 w 9113004"/>
              <a:gd name="connsiteY0" fmla="*/ 92990 h 1906291"/>
              <a:gd name="connsiteX1" fmla="*/ 9113004 w 9113004"/>
              <a:gd name="connsiteY1" fmla="*/ 1906291 h 1906291"/>
              <a:gd name="connsiteX2" fmla="*/ 0 w 9113004"/>
              <a:gd name="connsiteY2" fmla="*/ 1906291 h 1906291"/>
              <a:gd name="connsiteX3" fmla="*/ 0 w 9113004"/>
              <a:gd name="connsiteY3" fmla="*/ 674176 h 1906291"/>
              <a:gd name="connsiteX4" fmla="*/ 7849892 w 9113004"/>
              <a:gd name="connsiteY4" fmla="*/ 0 h 1906291"/>
              <a:gd name="connsiteX5" fmla="*/ 9113004 w 9113004"/>
              <a:gd name="connsiteY5" fmla="*/ 92990 h 1906291"/>
              <a:gd name="connsiteX0" fmla="*/ 9120917 w 9120917"/>
              <a:gd name="connsiteY0" fmla="*/ 92990 h 1906291"/>
              <a:gd name="connsiteX1" fmla="*/ 9120917 w 9120917"/>
              <a:gd name="connsiteY1" fmla="*/ 1906291 h 1906291"/>
              <a:gd name="connsiteX2" fmla="*/ 7913 w 9120917"/>
              <a:gd name="connsiteY2" fmla="*/ 1906291 h 1906291"/>
              <a:gd name="connsiteX3" fmla="*/ 0 w 9120917"/>
              <a:gd name="connsiteY3" fmla="*/ 525435 h 1906291"/>
              <a:gd name="connsiteX4" fmla="*/ 7857805 w 9120917"/>
              <a:gd name="connsiteY4" fmla="*/ 0 h 1906291"/>
              <a:gd name="connsiteX5" fmla="*/ 9120917 w 9120917"/>
              <a:gd name="connsiteY5" fmla="*/ 92990 h 190629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7841980 w 9120917"/>
              <a:gd name="connsiteY4" fmla="*/ 683774 h 1813301"/>
              <a:gd name="connsiteX5" fmla="*/ 9120917 w 9120917"/>
              <a:gd name="connsiteY5" fmla="*/ 0 h 181330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9120917 w 9120917"/>
              <a:gd name="connsiteY4" fmla="*/ 0 h 1813301"/>
              <a:gd name="connsiteX0" fmla="*/ 9165530 w 9165530"/>
              <a:gd name="connsiteY0" fmla="*/ 0 h 1968240"/>
              <a:gd name="connsiteX1" fmla="*/ 9120917 w 9165530"/>
              <a:gd name="connsiteY1" fmla="*/ 1968240 h 1968240"/>
              <a:gd name="connsiteX2" fmla="*/ 7913 w 9165530"/>
              <a:gd name="connsiteY2" fmla="*/ 1968240 h 1968240"/>
              <a:gd name="connsiteX3" fmla="*/ 0 w 9165530"/>
              <a:gd name="connsiteY3" fmla="*/ 587384 h 1968240"/>
              <a:gd name="connsiteX4" fmla="*/ 9165530 w 9165530"/>
              <a:gd name="connsiteY4" fmla="*/ 0 h 1968240"/>
              <a:gd name="connsiteX0" fmla="*/ 9128352 w 9128352"/>
              <a:gd name="connsiteY0" fmla="*/ 0 h 1916593"/>
              <a:gd name="connsiteX1" fmla="*/ 9120917 w 9128352"/>
              <a:gd name="connsiteY1" fmla="*/ 1916593 h 1916593"/>
              <a:gd name="connsiteX2" fmla="*/ 7913 w 9128352"/>
              <a:gd name="connsiteY2" fmla="*/ 1916593 h 1916593"/>
              <a:gd name="connsiteX3" fmla="*/ 0 w 9128352"/>
              <a:gd name="connsiteY3" fmla="*/ 535737 h 1916593"/>
              <a:gd name="connsiteX4" fmla="*/ 9128352 w 9128352"/>
              <a:gd name="connsiteY4" fmla="*/ 0 h 1916593"/>
              <a:gd name="connsiteX0" fmla="*/ 9120917 w 9121632"/>
              <a:gd name="connsiteY0" fmla="*/ 0 h 1937251"/>
              <a:gd name="connsiteX1" fmla="*/ 9120917 w 9121632"/>
              <a:gd name="connsiteY1" fmla="*/ 1937251 h 1937251"/>
              <a:gd name="connsiteX2" fmla="*/ 7913 w 9121632"/>
              <a:gd name="connsiteY2" fmla="*/ 1937251 h 1937251"/>
              <a:gd name="connsiteX3" fmla="*/ 0 w 9121632"/>
              <a:gd name="connsiteY3" fmla="*/ 556395 h 1937251"/>
              <a:gd name="connsiteX4" fmla="*/ 9120917 w 9121632"/>
              <a:gd name="connsiteY4" fmla="*/ 0 h 1937251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2756 w 9122756"/>
              <a:gd name="connsiteY0" fmla="*/ 0 h 1965461"/>
              <a:gd name="connsiteX1" fmla="*/ 9120917 w 9122756"/>
              <a:gd name="connsiteY1" fmla="*/ 1965461 h 1965461"/>
              <a:gd name="connsiteX2" fmla="*/ 7913 w 9122756"/>
              <a:gd name="connsiteY2" fmla="*/ 1965461 h 1965461"/>
              <a:gd name="connsiteX3" fmla="*/ 0 w 9122756"/>
              <a:gd name="connsiteY3" fmla="*/ 584605 h 1965461"/>
              <a:gd name="connsiteX4" fmla="*/ 9122756 w 9122756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6074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1"/>
              <a:gd name="connsiteX1" fmla="*/ 9119351 w 9121190"/>
              <a:gd name="connsiteY1" fmla="*/ 1965461 h 1965461"/>
              <a:gd name="connsiteX2" fmla="*/ 832 w 9121190"/>
              <a:gd name="connsiteY2" fmla="*/ 1965461 h 1965461"/>
              <a:gd name="connsiteX3" fmla="*/ 273 w 9121190"/>
              <a:gd name="connsiteY3" fmla="*/ 579496 h 1965461"/>
              <a:gd name="connsiteX4" fmla="*/ 9121190 w 9121190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4235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2397 w 9120917"/>
              <a:gd name="connsiteY2" fmla="*/ 1962907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2"/>
              <a:gd name="connsiteX1" fmla="*/ 9119351 w 9121190"/>
              <a:gd name="connsiteY1" fmla="*/ 1965461 h 1965462"/>
              <a:gd name="connsiteX2" fmla="*/ 832 w 9121190"/>
              <a:gd name="connsiteY2" fmla="*/ 1965462 h 1965462"/>
              <a:gd name="connsiteX3" fmla="*/ 273 w 9121190"/>
              <a:gd name="connsiteY3" fmla="*/ 579496 h 1965462"/>
              <a:gd name="connsiteX4" fmla="*/ 9121190 w 9121190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1190 w 9121190"/>
              <a:gd name="connsiteY0" fmla="*/ 0 h 1970571"/>
              <a:gd name="connsiteX1" fmla="*/ 9119351 w 9121190"/>
              <a:gd name="connsiteY1" fmla="*/ 1965461 h 1970571"/>
              <a:gd name="connsiteX2" fmla="*/ 832 w 9121190"/>
              <a:gd name="connsiteY2" fmla="*/ 1970571 h 1970571"/>
              <a:gd name="connsiteX3" fmla="*/ 273 w 9121190"/>
              <a:gd name="connsiteY3" fmla="*/ 579496 h 1970571"/>
              <a:gd name="connsiteX4" fmla="*/ 9121190 w 9121190"/>
              <a:gd name="connsiteY4" fmla="*/ 0 h 1970571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2197 w 9122197"/>
              <a:gd name="connsiteY0" fmla="*/ 0 h 1965463"/>
              <a:gd name="connsiteX1" fmla="*/ 9120358 w 9122197"/>
              <a:gd name="connsiteY1" fmla="*/ 1965461 h 1965463"/>
              <a:gd name="connsiteX2" fmla="*/ 0 w 9122197"/>
              <a:gd name="connsiteY2" fmla="*/ 1965463 h 1965463"/>
              <a:gd name="connsiteX3" fmla="*/ 1280 w 9122197"/>
              <a:gd name="connsiteY3" fmla="*/ 579496 h 1965463"/>
              <a:gd name="connsiteX4" fmla="*/ 9122197 w 9122197"/>
              <a:gd name="connsiteY4" fmla="*/ 0 h 1965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22197" h="1965463">
                <a:moveTo>
                  <a:pt x="9122197" y="0"/>
                </a:moveTo>
                <a:cubicBezTo>
                  <a:pt x="9119719" y="638864"/>
                  <a:pt x="9122836" y="1326597"/>
                  <a:pt x="9120358" y="1965461"/>
                </a:cubicBezTo>
                <a:lnTo>
                  <a:pt x="0" y="1965463"/>
                </a:lnTo>
                <a:cubicBezTo>
                  <a:pt x="427" y="1503474"/>
                  <a:pt x="853" y="1041485"/>
                  <a:pt x="1280" y="579496"/>
                </a:cubicBezTo>
                <a:lnTo>
                  <a:pt x="9122197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="1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2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eco Shape Right">
            <a:extLst>
              <a:ext uri="{FF2B5EF4-FFF2-40B4-BE49-F238E27FC236}">
                <a16:creationId xmlns:a16="http://schemas.microsoft.com/office/drawing/2014/main" id="{0FEC887A-3A42-42E1-B795-C3A79C447F1E}"/>
              </a:ext>
            </a:extLst>
          </p:cNvPr>
          <p:cNvSpPr>
            <a:spLocks/>
          </p:cNvSpPr>
          <p:nvPr userDrawn="1">
            <p:custDataLst>
              <p:tags r:id="rId21"/>
            </p:custDataLst>
          </p:nvPr>
        </p:nvSpPr>
        <p:spPr bwMode="auto">
          <a:xfrm>
            <a:off x="11674115" y="6489341"/>
            <a:ext cx="518564" cy="368660"/>
          </a:xfrm>
          <a:custGeom>
            <a:avLst/>
            <a:gdLst>
              <a:gd name="connsiteX0" fmla="*/ 233365 w 388923"/>
              <a:gd name="connsiteY0" fmla="*/ 0 h 268456"/>
              <a:gd name="connsiteX1" fmla="*/ 388923 w 388923"/>
              <a:gd name="connsiteY1" fmla="*/ 0 h 268456"/>
              <a:gd name="connsiteX2" fmla="*/ 388923 w 388923"/>
              <a:gd name="connsiteY2" fmla="*/ 268456 h 268456"/>
              <a:gd name="connsiteX3" fmla="*/ 0 w 388923"/>
              <a:gd name="connsiteY3" fmla="*/ 268456 h 268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923" h="268456">
                <a:moveTo>
                  <a:pt x="233365" y="0"/>
                </a:moveTo>
                <a:lnTo>
                  <a:pt x="388923" y="0"/>
                </a:lnTo>
                <a:lnTo>
                  <a:pt x="388923" y="268456"/>
                </a:lnTo>
                <a:lnTo>
                  <a:pt x="0" y="268456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0" name="Deco Shape Left">
            <a:extLst>
              <a:ext uri="{FF2B5EF4-FFF2-40B4-BE49-F238E27FC236}">
                <a16:creationId xmlns:a16="http://schemas.microsoft.com/office/drawing/2014/main" id="{115C01C8-35B4-47DF-87EA-B41C01532174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0720771" y="6489341"/>
            <a:ext cx="1244253" cy="368660"/>
          </a:xfrm>
          <a:custGeom>
            <a:avLst/>
            <a:gdLst>
              <a:gd name="connsiteX0" fmla="*/ 0 w 933190"/>
              <a:gd name="connsiteY0" fmla="*/ 0 h 267494"/>
              <a:gd name="connsiteX1" fmla="*/ 933190 w 933190"/>
              <a:gd name="connsiteY1" fmla="*/ 0 h 267494"/>
              <a:gd name="connsiteX2" fmla="*/ 700660 w 933190"/>
              <a:gd name="connsiteY2" fmla="*/ 267494 h 267494"/>
              <a:gd name="connsiteX3" fmla="*/ 42367 w 933190"/>
              <a:gd name="connsiteY3" fmla="*/ 267494 h 267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3190" h="267494">
                <a:moveTo>
                  <a:pt x="0" y="0"/>
                </a:moveTo>
                <a:lnTo>
                  <a:pt x="933190" y="0"/>
                </a:lnTo>
                <a:lnTo>
                  <a:pt x="700660" y="267494"/>
                </a:lnTo>
                <a:lnTo>
                  <a:pt x="42367" y="267494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00" baseline="0" noProof="0" dirty="0">
              <a:latin typeface="+mn-lt"/>
              <a:ea typeface="+mn-ea"/>
              <a:cs typeface="+mn-cs"/>
            </a:endParaRPr>
          </a:p>
        </p:txBody>
      </p:sp>
      <p:cxnSp>
        <p:nvCxnSpPr>
          <p:cNvPr id="18" name="Line Bottom">
            <a:extLst>
              <a:ext uri="{FF2B5EF4-FFF2-40B4-BE49-F238E27FC236}">
                <a16:creationId xmlns:a16="http://schemas.microsoft.com/office/drawing/2014/main" id="{50DF868B-BD2D-490A-A05B-F87011512922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0" y="6489340"/>
            <a:ext cx="12193200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5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cxnSp>
        <p:nvCxnSpPr>
          <p:cNvPr id="9" name="Line Top">
            <a:extLst>
              <a:ext uri="{FF2B5EF4-FFF2-40B4-BE49-F238E27FC236}">
                <a16:creationId xmlns:a16="http://schemas.microsoft.com/office/drawing/2014/main" id="{F58AA643-AEA6-4443-BCBC-495B84238BF5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>
          <a:xfrm>
            <a:off x="334434" y="908721"/>
            <a:ext cx="11521017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7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grpSp>
        <p:nvGrpSpPr>
          <p:cNvPr id="2" name="Logo">
            <a:extLst>
              <a:ext uri="{FF2B5EF4-FFF2-40B4-BE49-F238E27FC236}">
                <a16:creationId xmlns:a16="http://schemas.microsoft.com/office/drawing/2014/main" id="{09F6C2B3-52AF-4C87-8DA7-D88B6BD510D6}"/>
              </a:ext>
            </a:extLst>
          </p:cNvPr>
          <p:cNvGrpSpPr/>
          <p:nvPr/>
        </p:nvGrpSpPr>
        <p:grpSpPr>
          <a:xfrm>
            <a:off x="10659752" y="193689"/>
            <a:ext cx="1206736" cy="528057"/>
            <a:chOff x="10659752" y="193689"/>
            <a:chExt cx="1206736" cy="528057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481A94B-AD7D-4E10-A0F1-8388E7B440B1}"/>
                </a:ext>
              </a:extLst>
            </p:cNvPr>
            <p:cNvSpPr/>
            <p:nvPr/>
          </p:nvSpPr>
          <p:spPr>
            <a:xfrm>
              <a:off x="10819003" y="243412"/>
              <a:ext cx="932942" cy="305729"/>
            </a:xfrm>
            <a:custGeom>
              <a:avLst/>
              <a:gdLst>
                <a:gd name="connsiteX0" fmla="*/ 740052 w 932942"/>
                <a:gd name="connsiteY0" fmla="*/ 305729 h 305729"/>
                <a:gd name="connsiteX1" fmla="*/ 799239 w 932942"/>
                <a:gd name="connsiteY1" fmla="*/ 214181 h 305729"/>
                <a:gd name="connsiteX2" fmla="*/ 740052 w 932942"/>
                <a:gd name="connsiteY2" fmla="*/ 124761 h 305729"/>
                <a:gd name="connsiteX3" fmla="*/ 681717 w 932942"/>
                <a:gd name="connsiteY3" fmla="*/ 215032 h 305729"/>
                <a:gd name="connsiteX4" fmla="*/ 740052 w 932942"/>
                <a:gd name="connsiteY4" fmla="*/ 305729 h 305729"/>
                <a:gd name="connsiteX5" fmla="*/ 717910 w 932942"/>
                <a:gd name="connsiteY5" fmla="*/ 213755 h 305729"/>
                <a:gd name="connsiteX6" fmla="*/ 740052 w 932942"/>
                <a:gd name="connsiteY6" fmla="*/ 155419 h 305729"/>
                <a:gd name="connsiteX7" fmla="*/ 763046 w 932942"/>
                <a:gd name="connsiteY7" fmla="*/ 214606 h 305729"/>
                <a:gd name="connsiteX8" fmla="*/ 740904 w 932942"/>
                <a:gd name="connsiteY8" fmla="*/ 275923 h 305729"/>
                <a:gd name="connsiteX9" fmla="*/ 717910 w 932942"/>
                <a:gd name="connsiteY9" fmla="*/ 213755 h 305729"/>
                <a:gd name="connsiteX10" fmla="*/ 608904 w 932942"/>
                <a:gd name="connsiteY10" fmla="*/ 305729 h 305729"/>
                <a:gd name="connsiteX11" fmla="*/ 657871 w 932942"/>
                <a:gd name="connsiteY11" fmla="*/ 282735 h 305729"/>
                <a:gd name="connsiteX12" fmla="*/ 644671 w 932942"/>
                <a:gd name="connsiteY12" fmla="*/ 258039 h 305729"/>
                <a:gd name="connsiteX13" fmla="*/ 611884 w 932942"/>
                <a:gd name="connsiteY13" fmla="*/ 275071 h 305729"/>
                <a:gd name="connsiteX14" fmla="*/ 588039 w 932942"/>
                <a:gd name="connsiteY14" fmla="*/ 258890 h 305729"/>
                <a:gd name="connsiteX15" fmla="*/ 582929 w 932942"/>
                <a:gd name="connsiteY15" fmla="*/ 228658 h 305729"/>
                <a:gd name="connsiteX16" fmla="*/ 582929 w 932942"/>
                <a:gd name="connsiteY16" fmla="*/ 225252 h 305729"/>
                <a:gd name="connsiteX17" fmla="*/ 659575 w 932942"/>
                <a:gd name="connsiteY17" fmla="*/ 225252 h 305729"/>
                <a:gd name="connsiteX18" fmla="*/ 659575 w 932942"/>
                <a:gd name="connsiteY18" fmla="*/ 217587 h 305729"/>
                <a:gd name="connsiteX19" fmla="*/ 642968 w 932942"/>
                <a:gd name="connsiteY19" fmla="*/ 143071 h 305729"/>
                <a:gd name="connsiteX20" fmla="*/ 604645 w 932942"/>
                <a:gd name="connsiteY20" fmla="*/ 124761 h 305729"/>
                <a:gd name="connsiteX21" fmla="*/ 563342 w 932942"/>
                <a:gd name="connsiteY21" fmla="*/ 147329 h 305729"/>
                <a:gd name="connsiteX22" fmla="*/ 547587 w 932942"/>
                <a:gd name="connsiteY22" fmla="*/ 215032 h 305729"/>
                <a:gd name="connsiteX23" fmla="*/ 608904 w 932942"/>
                <a:gd name="connsiteY23" fmla="*/ 305729 h 305729"/>
                <a:gd name="connsiteX24" fmla="*/ 605071 w 932942"/>
                <a:gd name="connsiteY24" fmla="*/ 152865 h 305729"/>
                <a:gd name="connsiteX25" fmla="*/ 622104 w 932942"/>
                <a:gd name="connsiteY25" fmla="*/ 165213 h 305729"/>
                <a:gd name="connsiteX26" fmla="*/ 625936 w 932942"/>
                <a:gd name="connsiteY26" fmla="*/ 197148 h 305729"/>
                <a:gd name="connsiteX27" fmla="*/ 582929 w 932942"/>
                <a:gd name="connsiteY27" fmla="*/ 197148 h 305729"/>
                <a:gd name="connsiteX28" fmla="*/ 605071 w 932942"/>
                <a:gd name="connsiteY28" fmla="*/ 152865 h 305729"/>
                <a:gd name="connsiteX29" fmla="*/ 827342 w 932942"/>
                <a:gd name="connsiteY29" fmla="*/ 301471 h 305729"/>
                <a:gd name="connsiteX30" fmla="*/ 860555 w 932942"/>
                <a:gd name="connsiteY30" fmla="*/ 301471 h 305729"/>
                <a:gd name="connsiteX31" fmla="*/ 860555 w 932942"/>
                <a:gd name="connsiteY31" fmla="*/ 173729 h 305729"/>
                <a:gd name="connsiteX32" fmla="*/ 884826 w 932942"/>
                <a:gd name="connsiteY32" fmla="*/ 158400 h 305729"/>
                <a:gd name="connsiteX33" fmla="*/ 895897 w 932942"/>
                <a:gd name="connsiteY33" fmla="*/ 162658 h 305729"/>
                <a:gd name="connsiteX34" fmla="*/ 899730 w 932942"/>
                <a:gd name="connsiteY34" fmla="*/ 185226 h 305729"/>
                <a:gd name="connsiteX35" fmla="*/ 899730 w 932942"/>
                <a:gd name="connsiteY35" fmla="*/ 301471 h 305729"/>
                <a:gd name="connsiteX36" fmla="*/ 932942 w 932942"/>
                <a:gd name="connsiteY36" fmla="*/ 301471 h 305729"/>
                <a:gd name="connsiteX37" fmla="*/ 932942 w 932942"/>
                <a:gd name="connsiteY37" fmla="*/ 169897 h 305729"/>
                <a:gd name="connsiteX38" fmla="*/ 924852 w 932942"/>
                <a:gd name="connsiteY38" fmla="*/ 138387 h 305729"/>
                <a:gd name="connsiteX39" fmla="*/ 897601 w 932942"/>
                <a:gd name="connsiteY39" fmla="*/ 126039 h 305729"/>
                <a:gd name="connsiteX40" fmla="*/ 858000 w 932942"/>
                <a:gd name="connsiteY40" fmla="*/ 145200 h 305729"/>
                <a:gd name="connsiteX41" fmla="*/ 853742 w 932942"/>
                <a:gd name="connsiteY41" fmla="*/ 124761 h 305729"/>
                <a:gd name="connsiteX42" fmla="*/ 822659 w 932942"/>
                <a:gd name="connsiteY42" fmla="*/ 132852 h 305729"/>
                <a:gd name="connsiteX43" fmla="*/ 826917 w 932942"/>
                <a:gd name="connsiteY43" fmla="*/ 174581 h 305729"/>
                <a:gd name="connsiteX44" fmla="*/ 826917 w 932942"/>
                <a:gd name="connsiteY44" fmla="*/ 301471 h 305729"/>
                <a:gd name="connsiteX45" fmla="*/ 441562 w 932942"/>
                <a:gd name="connsiteY45" fmla="*/ 145200 h 305729"/>
                <a:gd name="connsiteX46" fmla="*/ 437304 w 932942"/>
                <a:gd name="connsiteY46" fmla="*/ 124761 h 305729"/>
                <a:gd name="connsiteX47" fmla="*/ 406220 w 932942"/>
                <a:gd name="connsiteY47" fmla="*/ 132852 h 305729"/>
                <a:gd name="connsiteX48" fmla="*/ 410478 w 932942"/>
                <a:gd name="connsiteY48" fmla="*/ 174581 h 305729"/>
                <a:gd name="connsiteX49" fmla="*/ 410478 w 932942"/>
                <a:gd name="connsiteY49" fmla="*/ 301045 h 305729"/>
                <a:gd name="connsiteX50" fmla="*/ 443691 w 932942"/>
                <a:gd name="connsiteY50" fmla="*/ 301045 h 305729"/>
                <a:gd name="connsiteX51" fmla="*/ 443691 w 932942"/>
                <a:gd name="connsiteY51" fmla="*/ 173303 h 305729"/>
                <a:gd name="connsiteX52" fmla="*/ 467962 w 932942"/>
                <a:gd name="connsiteY52" fmla="*/ 157974 h 305729"/>
                <a:gd name="connsiteX53" fmla="*/ 479033 w 932942"/>
                <a:gd name="connsiteY53" fmla="*/ 162232 h 305729"/>
                <a:gd name="connsiteX54" fmla="*/ 482865 w 932942"/>
                <a:gd name="connsiteY54" fmla="*/ 184800 h 305729"/>
                <a:gd name="connsiteX55" fmla="*/ 482865 w 932942"/>
                <a:gd name="connsiteY55" fmla="*/ 301045 h 305729"/>
                <a:gd name="connsiteX56" fmla="*/ 516078 w 932942"/>
                <a:gd name="connsiteY56" fmla="*/ 301045 h 305729"/>
                <a:gd name="connsiteX57" fmla="*/ 516078 w 932942"/>
                <a:gd name="connsiteY57" fmla="*/ 169897 h 305729"/>
                <a:gd name="connsiteX58" fmla="*/ 507987 w 932942"/>
                <a:gd name="connsiteY58" fmla="*/ 138387 h 305729"/>
                <a:gd name="connsiteX59" fmla="*/ 480736 w 932942"/>
                <a:gd name="connsiteY59" fmla="*/ 126039 h 305729"/>
                <a:gd name="connsiteX60" fmla="*/ 441562 w 932942"/>
                <a:gd name="connsiteY60" fmla="*/ 145200 h 305729"/>
                <a:gd name="connsiteX61" fmla="*/ 35342 w 932942"/>
                <a:gd name="connsiteY61" fmla="*/ 70684 h 305729"/>
                <a:gd name="connsiteX62" fmla="*/ 70684 w 932942"/>
                <a:gd name="connsiteY62" fmla="*/ 35342 h 305729"/>
                <a:gd name="connsiteX63" fmla="*/ 35342 w 932942"/>
                <a:gd name="connsiteY63" fmla="*/ 0 h 305729"/>
                <a:gd name="connsiteX64" fmla="*/ 0 w 932942"/>
                <a:gd name="connsiteY64" fmla="*/ 35342 h 305729"/>
                <a:gd name="connsiteX65" fmla="*/ 35342 w 932942"/>
                <a:gd name="connsiteY65" fmla="*/ 70684 h 305729"/>
                <a:gd name="connsiteX66" fmla="*/ 198426 w 932942"/>
                <a:gd name="connsiteY66" fmla="*/ 301471 h 305729"/>
                <a:gd name="connsiteX67" fmla="*/ 198426 w 932942"/>
                <a:gd name="connsiteY67" fmla="*/ 169897 h 305729"/>
                <a:gd name="connsiteX68" fmla="*/ 190336 w 932942"/>
                <a:gd name="connsiteY68" fmla="*/ 138387 h 305729"/>
                <a:gd name="connsiteX69" fmla="*/ 163084 w 932942"/>
                <a:gd name="connsiteY69" fmla="*/ 126039 h 305729"/>
                <a:gd name="connsiteX70" fmla="*/ 123484 w 932942"/>
                <a:gd name="connsiteY70" fmla="*/ 145200 h 305729"/>
                <a:gd name="connsiteX71" fmla="*/ 119226 w 932942"/>
                <a:gd name="connsiteY71" fmla="*/ 124761 h 305729"/>
                <a:gd name="connsiteX72" fmla="*/ 88568 w 932942"/>
                <a:gd name="connsiteY72" fmla="*/ 133277 h 305729"/>
                <a:gd name="connsiteX73" fmla="*/ 92826 w 932942"/>
                <a:gd name="connsiteY73" fmla="*/ 175006 h 305729"/>
                <a:gd name="connsiteX74" fmla="*/ 92826 w 932942"/>
                <a:gd name="connsiteY74" fmla="*/ 301471 h 305729"/>
                <a:gd name="connsiteX75" fmla="*/ 126039 w 932942"/>
                <a:gd name="connsiteY75" fmla="*/ 301471 h 305729"/>
                <a:gd name="connsiteX76" fmla="*/ 126039 w 932942"/>
                <a:gd name="connsiteY76" fmla="*/ 173729 h 305729"/>
                <a:gd name="connsiteX77" fmla="*/ 150310 w 932942"/>
                <a:gd name="connsiteY77" fmla="*/ 158400 h 305729"/>
                <a:gd name="connsiteX78" fmla="*/ 161381 w 932942"/>
                <a:gd name="connsiteY78" fmla="*/ 162658 h 305729"/>
                <a:gd name="connsiteX79" fmla="*/ 165213 w 932942"/>
                <a:gd name="connsiteY79" fmla="*/ 185226 h 305729"/>
                <a:gd name="connsiteX80" fmla="*/ 165213 w 932942"/>
                <a:gd name="connsiteY80" fmla="*/ 301471 h 305729"/>
                <a:gd name="connsiteX81" fmla="*/ 198426 w 932942"/>
                <a:gd name="connsiteY81" fmla="*/ 301471 h 305729"/>
                <a:gd name="connsiteX82" fmla="*/ 351291 w 932942"/>
                <a:gd name="connsiteY82" fmla="*/ 61316 h 305729"/>
                <a:gd name="connsiteX83" fmla="*/ 329149 w 932942"/>
                <a:gd name="connsiteY83" fmla="*/ 83458 h 305729"/>
                <a:gd name="connsiteX84" fmla="*/ 350865 w 932942"/>
                <a:gd name="connsiteY84" fmla="*/ 105600 h 305729"/>
                <a:gd name="connsiteX85" fmla="*/ 373007 w 932942"/>
                <a:gd name="connsiteY85" fmla="*/ 83458 h 305729"/>
                <a:gd name="connsiteX86" fmla="*/ 351291 w 932942"/>
                <a:gd name="connsiteY86" fmla="*/ 61316 h 305729"/>
                <a:gd name="connsiteX87" fmla="*/ 19587 w 932942"/>
                <a:gd name="connsiteY87" fmla="*/ 301471 h 305729"/>
                <a:gd name="connsiteX88" fmla="*/ 52800 w 932942"/>
                <a:gd name="connsiteY88" fmla="*/ 301471 h 305729"/>
                <a:gd name="connsiteX89" fmla="*/ 52800 w 932942"/>
                <a:gd name="connsiteY89" fmla="*/ 94103 h 305729"/>
                <a:gd name="connsiteX90" fmla="*/ 19587 w 932942"/>
                <a:gd name="connsiteY90" fmla="*/ 98361 h 305729"/>
                <a:gd name="connsiteX91" fmla="*/ 19587 w 932942"/>
                <a:gd name="connsiteY91" fmla="*/ 301471 h 305729"/>
                <a:gd name="connsiteX92" fmla="*/ 290826 w 932942"/>
                <a:gd name="connsiteY92" fmla="*/ 81755 h 305729"/>
                <a:gd name="connsiteX93" fmla="*/ 306581 w 932942"/>
                <a:gd name="connsiteY93" fmla="*/ 86865 h 305729"/>
                <a:gd name="connsiteX94" fmla="*/ 315949 w 932942"/>
                <a:gd name="connsiteY94" fmla="*/ 60890 h 305729"/>
                <a:gd name="connsiteX95" fmla="*/ 284865 w 932942"/>
                <a:gd name="connsiteY95" fmla="*/ 51523 h 305729"/>
                <a:gd name="connsiteX96" fmla="*/ 259316 w 932942"/>
                <a:gd name="connsiteY96" fmla="*/ 60039 h 305729"/>
                <a:gd name="connsiteX97" fmla="*/ 242710 w 932942"/>
                <a:gd name="connsiteY97" fmla="*/ 106026 h 305729"/>
                <a:gd name="connsiteX98" fmla="*/ 243136 w 932942"/>
                <a:gd name="connsiteY98" fmla="*/ 128594 h 305729"/>
                <a:gd name="connsiteX99" fmla="*/ 231639 w 932942"/>
                <a:gd name="connsiteY99" fmla="*/ 128594 h 305729"/>
                <a:gd name="connsiteX100" fmla="*/ 231639 w 932942"/>
                <a:gd name="connsiteY100" fmla="*/ 157974 h 305729"/>
                <a:gd name="connsiteX101" fmla="*/ 243136 w 932942"/>
                <a:gd name="connsiteY101" fmla="*/ 157974 h 305729"/>
                <a:gd name="connsiteX102" fmla="*/ 243136 w 932942"/>
                <a:gd name="connsiteY102" fmla="*/ 301045 h 305729"/>
                <a:gd name="connsiteX103" fmla="*/ 277200 w 932942"/>
                <a:gd name="connsiteY103" fmla="*/ 301045 h 305729"/>
                <a:gd name="connsiteX104" fmla="*/ 277200 w 932942"/>
                <a:gd name="connsiteY104" fmla="*/ 158400 h 305729"/>
                <a:gd name="connsiteX105" fmla="*/ 302323 w 932942"/>
                <a:gd name="connsiteY105" fmla="*/ 158400 h 305729"/>
                <a:gd name="connsiteX106" fmla="*/ 308710 w 932942"/>
                <a:gd name="connsiteY106" fmla="*/ 129019 h 305729"/>
                <a:gd name="connsiteX107" fmla="*/ 277626 w 932942"/>
                <a:gd name="connsiteY107" fmla="*/ 129019 h 305729"/>
                <a:gd name="connsiteX108" fmla="*/ 277626 w 932942"/>
                <a:gd name="connsiteY108" fmla="*/ 102619 h 305729"/>
                <a:gd name="connsiteX109" fmla="*/ 290826 w 932942"/>
                <a:gd name="connsiteY109" fmla="*/ 81755 h 305729"/>
                <a:gd name="connsiteX110" fmla="*/ 334258 w 932942"/>
                <a:gd name="connsiteY110" fmla="*/ 301471 h 305729"/>
                <a:gd name="connsiteX111" fmla="*/ 367897 w 932942"/>
                <a:gd name="connsiteY111" fmla="*/ 301471 h 305729"/>
                <a:gd name="connsiteX112" fmla="*/ 367897 w 932942"/>
                <a:gd name="connsiteY112" fmla="*/ 126039 h 305729"/>
                <a:gd name="connsiteX113" fmla="*/ 334258 w 932942"/>
                <a:gd name="connsiteY113" fmla="*/ 130297 h 305729"/>
                <a:gd name="connsiteX114" fmla="*/ 334258 w 932942"/>
                <a:gd name="connsiteY114" fmla="*/ 301471 h 3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932942" h="305729">
                  <a:moveTo>
                    <a:pt x="740052" y="305729"/>
                  </a:moveTo>
                  <a:cubicBezTo>
                    <a:pt x="785188" y="305729"/>
                    <a:pt x="799239" y="258039"/>
                    <a:pt x="799239" y="214181"/>
                  </a:cubicBezTo>
                  <a:cubicBezTo>
                    <a:pt x="799239" y="155419"/>
                    <a:pt x="774542" y="124761"/>
                    <a:pt x="740052" y="124761"/>
                  </a:cubicBezTo>
                  <a:cubicBezTo>
                    <a:pt x="696620" y="124761"/>
                    <a:pt x="681291" y="172452"/>
                    <a:pt x="681717" y="215032"/>
                  </a:cubicBezTo>
                  <a:cubicBezTo>
                    <a:pt x="682142" y="257187"/>
                    <a:pt x="694065" y="305729"/>
                    <a:pt x="740052" y="305729"/>
                  </a:cubicBezTo>
                  <a:close/>
                  <a:moveTo>
                    <a:pt x="717910" y="213755"/>
                  </a:moveTo>
                  <a:cubicBezTo>
                    <a:pt x="717910" y="196297"/>
                    <a:pt x="717910" y="155419"/>
                    <a:pt x="740052" y="155419"/>
                  </a:cubicBezTo>
                  <a:cubicBezTo>
                    <a:pt x="763897" y="155419"/>
                    <a:pt x="763046" y="195871"/>
                    <a:pt x="763046" y="214606"/>
                  </a:cubicBezTo>
                  <a:cubicBezTo>
                    <a:pt x="763046" y="232490"/>
                    <a:pt x="763046" y="275923"/>
                    <a:pt x="740904" y="275923"/>
                  </a:cubicBezTo>
                  <a:cubicBezTo>
                    <a:pt x="717059" y="275497"/>
                    <a:pt x="717910" y="232065"/>
                    <a:pt x="717910" y="213755"/>
                  </a:cubicBezTo>
                  <a:close/>
                  <a:moveTo>
                    <a:pt x="608904" y="305729"/>
                  </a:moveTo>
                  <a:cubicBezTo>
                    <a:pt x="627213" y="305729"/>
                    <a:pt x="642968" y="298490"/>
                    <a:pt x="657871" y="282735"/>
                  </a:cubicBezTo>
                  <a:lnTo>
                    <a:pt x="644671" y="258039"/>
                  </a:lnTo>
                  <a:cubicBezTo>
                    <a:pt x="634452" y="269110"/>
                    <a:pt x="624233" y="275071"/>
                    <a:pt x="611884" y="275071"/>
                  </a:cubicBezTo>
                  <a:cubicBezTo>
                    <a:pt x="601665" y="275071"/>
                    <a:pt x="593149" y="269110"/>
                    <a:pt x="588039" y="258890"/>
                  </a:cubicBezTo>
                  <a:cubicBezTo>
                    <a:pt x="583781" y="249948"/>
                    <a:pt x="582929" y="239729"/>
                    <a:pt x="582929" y="228658"/>
                  </a:cubicBezTo>
                  <a:lnTo>
                    <a:pt x="582929" y="225252"/>
                  </a:lnTo>
                  <a:lnTo>
                    <a:pt x="659575" y="225252"/>
                  </a:lnTo>
                  <a:lnTo>
                    <a:pt x="659575" y="217587"/>
                  </a:lnTo>
                  <a:cubicBezTo>
                    <a:pt x="659575" y="179690"/>
                    <a:pt x="654891" y="158826"/>
                    <a:pt x="642968" y="143071"/>
                  </a:cubicBezTo>
                  <a:cubicBezTo>
                    <a:pt x="634026" y="131148"/>
                    <a:pt x="620826" y="124761"/>
                    <a:pt x="604645" y="124761"/>
                  </a:cubicBezTo>
                  <a:cubicBezTo>
                    <a:pt x="587613" y="124761"/>
                    <a:pt x="573562" y="132426"/>
                    <a:pt x="563342" y="147329"/>
                  </a:cubicBezTo>
                  <a:cubicBezTo>
                    <a:pt x="552271" y="163510"/>
                    <a:pt x="547587" y="185226"/>
                    <a:pt x="547587" y="215032"/>
                  </a:cubicBezTo>
                  <a:cubicBezTo>
                    <a:pt x="547162" y="272090"/>
                    <a:pt x="569729" y="305729"/>
                    <a:pt x="608904" y="305729"/>
                  </a:cubicBezTo>
                  <a:close/>
                  <a:moveTo>
                    <a:pt x="605071" y="152865"/>
                  </a:moveTo>
                  <a:cubicBezTo>
                    <a:pt x="613587" y="152865"/>
                    <a:pt x="618697" y="157548"/>
                    <a:pt x="622104" y="165213"/>
                  </a:cubicBezTo>
                  <a:cubicBezTo>
                    <a:pt x="624658" y="172026"/>
                    <a:pt x="625936" y="183523"/>
                    <a:pt x="625936" y="197148"/>
                  </a:cubicBezTo>
                  <a:lnTo>
                    <a:pt x="582929" y="197148"/>
                  </a:lnTo>
                  <a:cubicBezTo>
                    <a:pt x="583355" y="166916"/>
                    <a:pt x="589742" y="152865"/>
                    <a:pt x="605071" y="152865"/>
                  </a:cubicBezTo>
                  <a:close/>
                  <a:moveTo>
                    <a:pt x="827342" y="301471"/>
                  </a:moveTo>
                  <a:lnTo>
                    <a:pt x="860555" y="301471"/>
                  </a:lnTo>
                  <a:lnTo>
                    <a:pt x="860555" y="173729"/>
                  </a:lnTo>
                  <a:cubicBezTo>
                    <a:pt x="868646" y="163935"/>
                    <a:pt x="878013" y="158400"/>
                    <a:pt x="884826" y="158400"/>
                  </a:cubicBezTo>
                  <a:cubicBezTo>
                    <a:pt x="889084" y="158400"/>
                    <a:pt x="893342" y="159252"/>
                    <a:pt x="895897" y="162658"/>
                  </a:cubicBezTo>
                  <a:cubicBezTo>
                    <a:pt x="898452" y="166490"/>
                    <a:pt x="899730" y="172026"/>
                    <a:pt x="899730" y="185226"/>
                  </a:cubicBezTo>
                  <a:lnTo>
                    <a:pt x="899730" y="301471"/>
                  </a:lnTo>
                  <a:lnTo>
                    <a:pt x="932942" y="301471"/>
                  </a:lnTo>
                  <a:lnTo>
                    <a:pt x="932942" y="169897"/>
                  </a:lnTo>
                  <a:cubicBezTo>
                    <a:pt x="932942" y="158400"/>
                    <a:pt x="931665" y="146903"/>
                    <a:pt x="924852" y="138387"/>
                  </a:cubicBezTo>
                  <a:cubicBezTo>
                    <a:pt x="918891" y="130723"/>
                    <a:pt x="909523" y="126039"/>
                    <a:pt x="897601" y="126039"/>
                  </a:cubicBezTo>
                  <a:cubicBezTo>
                    <a:pt x="882272" y="126039"/>
                    <a:pt x="866517" y="134981"/>
                    <a:pt x="858000" y="145200"/>
                  </a:cubicBezTo>
                  <a:cubicBezTo>
                    <a:pt x="857575" y="136258"/>
                    <a:pt x="854594" y="127742"/>
                    <a:pt x="853742" y="124761"/>
                  </a:cubicBezTo>
                  <a:lnTo>
                    <a:pt x="822659" y="132852"/>
                  </a:lnTo>
                  <a:cubicBezTo>
                    <a:pt x="824362" y="142219"/>
                    <a:pt x="826917" y="153716"/>
                    <a:pt x="826917" y="174581"/>
                  </a:cubicBezTo>
                  <a:lnTo>
                    <a:pt x="826917" y="301471"/>
                  </a:lnTo>
                  <a:close/>
                  <a:moveTo>
                    <a:pt x="441562" y="145200"/>
                  </a:moveTo>
                  <a:cubicBezTo>
                    <a:pt x="441136" y="136258"/>
                    <a:pt x="438155" y="127742"/>
                    <a:pt x="437304" y="124761"/>
                  </a:cubicBezTo>
                  <a:lnTo>
                    <a:pt x="406220" y="132852"/>
                  </a:lnTo>
                  <a:cubicBezTo>
                    <a:pt x="407923" y="142219"/>
                    <a:pt x="410478" y="153716"/>
                    <a:pt x="410478" y="174581"/>
                  </a:cubicBezTo>
                  <a:lnTo>
                    <a:pt x="410478" y="301045"/>
                  </a:lnTo>
                  <a:lnTo>
                    <a:pt x="443691" y="301045"/>
                  </a:lnTo>
                  <a:lnTo>
                    <a:pt x="443691" y="173303"/>
                  </a:lnTo>
                  <a:cubicBezTo>
                    <a:pt x="451781" y="163510"/>
                    <a:pt x="461149" y="157974"/>
                    <a:pt x="467962" y="157974"/>
                  </a:cubicBezTo>
                  <a:cubicBezTo>
                    <a:pt x="472220" y="157974"/>
                    <a:pt x="476478" y="158826"/>
                    <a:pt x="479033" y="162232"/>
                  </a:cubicBezTo>
                  <a:cubicBezTo>
                    <a:pt x="481587" y="166065"/>
                    <a:pt x="482865" y="171600"/>
                    <a:pt x="482865" y="184800"/>
                  </a:cubicBezTo>
                  <a:lnTo>
                    <a:pt x="482865" y="301045"/>
                  </a:lnTo>
                  <a:lnTo>
                    <a:pt x="516078" y="301045"/>
                  </a:lnTo>
                  <a:lnTo>
                    <a:pt x="516078" y="169897"/>
                  </a:lnTo>
                  <a:cubicBezTo>
                    <a:pt x="516078" y="158400"/>
                    <a:pt x="514800" y="146903"/>
                    <a:pt x="507987" y="138387"/>
                  </a:cubicBezTo>
                  <a:cubicBezTo>
                    <a:pt x="502026" y="130723"/>
                    <a:pt x="492658" y="126039"/>
                    <a:pt x="480736" y="126039"/>
                  </a:cubicBezTo>
                  <a:cubicBezTo>
                    <a:pt x="465833" y="126039"/>
                    <a:pt x="450078" y="134981"/>
                    <a:pt x="441562" y="145200"/>
                  </a:cubicBezTo>
                  <a:close/>
                  <a:moveTo>
                    <a:pt x="35342" y="70684"/>
                  </a:moveTo>
                  <a:cubicBezTo>
                    <a:pt x="54929" y="70684"/>
                    <a:pt x="70684" y="54929"/>
                    <a:pt x="70684" y="35342"/>
                  </a:cubicBezTo>
                  <a:cubicBezTo>
                    <a:pt x="70684" y="15755"/>
                    <a:pt x="54929" y="0"/>
                    <a:pt x="35342" y="0"/>
                  </a:cubicBezTo>
                  <a:cubicBezTo>
                    <a:pt x="15755" y="0"/>
                    <a:pt x="0" y="15755"/>
                    <a:pt x="0" y="35342"/>
                  </a:cubicBezTo>
                  <a:cubicBezTo>
                    <a:pt x="0" y="54929"/>
                    <a:pt x="15755" y="70684"/>
                    <a:pt x="35342" y="70684"/>
                  </a:cubicBezTo>
                  <a:close/>
                  <a:moveTo>
                    <a:pt x="198426" y="301471"/>
                  </a:moveTo>
                  <a:lnTo>
                    <a:pt x="198426" y="169897"/>
                  </a:lnTo>
                  <a:cubicBezTo>
                    <a:pt x="198426" y="158400"/>
                    <a:pt x="197148" y="146903"/>
                    <a:pt x="190336" y="138387"/>
                  </a:cubicBezTo>
                  <a:cubicBezTo>
                    <a:pt x="184374" y="130723"/>
                    <a:pt x="175007" y="126039"/>
                    <a:pt x="163084" y="126039"/>
                  </a:cubicBezTo>
                  <a:cubicBezTo>
                    <a:pt x="147755" y="126039"/>
                    <a:pt x="132000" y="134981"/>
                    <a:pt x="123484" y="145200"/>
                  </a:cubicBezTo>
                  <a:cubicBezTo>
                    <a:pt x="123058" y="136258"/>
                    <a:pt x="120077" y="127742"/>
                    <a:pt x="119226" y="124761"/>
                  </a:cubicBezTo>
                  <a:lnTo>
                    <a:pt x="88568" y="133277"/>
                  </a:lnTo>
                  <a:cubicBezTo>
                    <a:pt x="90271" y="142645"/>
                    <a:pt x="92826" y="154142"/>
                    <a:pt x="92826" y="175006"/>
                  </a:cubicBezTo>
                  <a:lnTo>
                    <a:pt x="92826" y="301471"/>
                  </a:lnTo>
                  <a:lnTo>
                    <a:pt x="126039" y="301471"/>
                  </a:lnTo>
                  <a:lnTo>
                    <a:pt x="126039" y="173729"/>
                  </a:lnTo>
                  <a:cubicBezTo>
                    <a:pt x="134129" y="163935"/>
                    <a:pt x="143497" y="158400"/>
                    <a:pt x="150310" y="158400"/>
                  </a:cubicBezTo>
                  <a:cubicBezTo>
                    <a:pt x="154568" y="158400"/>
                    <a:pt x="158826" y="159252"/>
                    <a:pt x="161381" y="162658"/>
                  </a:cubicBezTo>
                  <a:cubicBezTo>
                    <a:pt x="163936" y="166490"/>
                    <a:pt x="165213" y="172026"/>
                    <a:pt x="165213" y="185226"/>
                  </a:cubicBezTo>
                  <a:lnTo>
                    <a:pt x="165213" y="301471"/>
                  </a:lnTo>
                  <a:lnTo>
                    <a:pt x="198426" y="301471"/>
                  </a:lnTo>
                  <a:close/>
                  <a:moveTo>
                    <a:pt x="351291" y="61316"/>
                  </a:moveTo>
                  <a:cubicBezTo>
                    <a:pt x="338942" y="61316"/>
                    <a:pt x="329149" y="71110"/>
                    <a:pt x="329149" y="83458"/>
                  </a:cubicBezTo>
                  <a:cubicBezTo>
                    <a:pt x="329149" y="95806"/>
                    <a:pt x="338942" y="105600"/>
                    <a:pt x="350865" y="105600"/>
                  </a:cubicBezTo>
                  <a:cubicBezTo>
                    <a:pt x="363213" y="105600"/>
                    <a:pt x="373007" y="95806"/>
                    <a:pt x="373007" y="83458"/>
                  </a:cubicBezTo>
                  <a:cubicBezTo>
                    <a:pt x="373007" y="71110"/>
                    <a:pt x="363213" y="61316"/>
                    <a:pt x="351291" y="61316"/>
                  </a:cubicBezTo>
                  <a:close/>
                  <a:moveTo>
                    <a:pt x="19587" y="301471"/>
                  </a:moveTo>
                  <a:lnTo>
                    <a:pt x="52800" y="301471"/>
                  </a:lnTo>
                  <a:lnTo>
                    <a:pt x="52800" y="94103"/>
                  </a:lnTo>
                  <a:lnTo>
                    <a:pt x="19587" y="98361"/>
                  </a:lnTo>
                  <a:lnTo>
                    <a:pt x="19587" y="301471"/>
                  </a:lnTo>
                  <a:close/>
                  <a:moveTo>
                    <a:pt x="290826" y="81755"/>
                  </a:moveTo>
                  <a:cubicBezTo>
                    <a:pt x="296787" y="81755"/>
                    <a:pt x="302749" y="83884"/>
                    <a:pt x="306581" y="86865"/>
                  </a:cubicBezTo>
                  <a:lnTo>
                    <a:pt x="315949" y="60890"/>
                  </a:lnTo>
                  <a:cubicBezTo>
                    <a:pt x="307007" y="54503"/>
                    <a:pt x="297213" y="51523"/>
                    <a:pt x="284865" y="51523"/>
                  </a:cubicBezTo>
                  <a:cubicBezTo>
                    <a:pt x="276349" y="51523"/>
                    <a:pt x="267407" y="53652"/>
                    <a:pt x="259316" y="60039"/>
                  </a:cubicBezTo>
                  <a:cubicBezTo>
                    <a:pt x="251226" y="66852"/>
                    <a:pt x="242710" y="80477"/>
                    <a:pt x="242710" y="106026"/>
                  </a:cubicBezTo>
                  <a:cubicBezTo>
                    <a:pt x="242710" y="117097"/>
                    <a:pt x="243136" y="128594"/>
                    <a:pt x="243136" y="128594"/>
                  </a:cubicBezTo>
                  <a:lnTo>
                    <a:pt x="231639" y="128594"/>
                  </a:lnTo>
                  <a:lnTo>
                    <a:pt x="231639" y="157974"/>
                  </a:lnTo>
                  <a:lnTo>
                    <a:pt x="243136" y="157974"/>
                  </a:lnTo>
                  <a:lnTo>
                    <a:pt x="243136" y="301045"/>
                  </a:lnTo>
                  <a:lnTo>
                    <a:pt x="277200" y="301045"/>
                  </a:lnTo>
                  <a:lnTo>
                    <a:pt x="277200" y="158400"/>
                  </a:lnTo>
                  <a:lnTo>
                    <a:pt x="302323" y="158400"/>
                  </a:lnTo>
                  <a:lnTo>
                    <a:pt x="308710" y="129019"/>
                  </a:lnTo>
                  <a:lnTo>
                    <a:pt x="277626" y="129019"/>
                  </a:lnTo>
                  <a:lnTo>
                    <a:pt x="277626" y="102619"/>
                  </a:lnTo>
                  <a:cubicBezTo>
                    <a:pt x="277626" y="89845"/>
                    <a:pt x="282736" y="81755"/>
                    <a:pt x="290826" y="81755"/>
                  </a:cubicBezTo>
                  <a:close/>
                  <a:moveTo>
                    <a:pt x="334258" y="301471"/>
                  </a:moveTo>
                  <a:lnTo>
                    <a:pt x="367897" y="301471"/>
                  </a:lnTo>
                  <a:lnTo>
                    <a:pt x="367897" y="126039"/>
                  </a:lnTo>
                  <a:lnTo>
                    <a:pt x="334258" y="130297"/>
                  </a:lnTo>
                  <a:lnTo>
                    <a:pt x="334258" y="301471"/>
                  </a:lnTo>
                  <a:close/>
                </a:path>
              </a:pathLst>
            </a:custGeom>
            <a:solidFill>
              <a:srgbClr val="005DA9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B3DFC8B-687C-41DA-A4C3-866145B61F3A}"/>
                </a:ext>
              </a:extLst>
            </p:cNvPr>
            <p:cNvSpPr/>
            <p:nvPr/>
          </p:nvSpPr>
          <p:spPr>
            <a:xfrm>
              <a:off x="10659752" y="193689"/>
              <a:ext cx="1206736" cy="528057"/>
            </a:xfrm>
            <a:custGeom>
              <a:avLst/>
              <a:gdLst>
                <a:gd name="connsiteX0" fmla="*/ 1024065 w 1206736"/>
                <a:gd name="connsiteY0" fmla="*/ 444872 h 528057"/>
                <a:gd name="connsiteX1" fmla="*/ 641265 w 1206736"/>
                <a:gd name="connsiteY1" fmla="*/ 492562 h 528057"/>
                <a:gd name="connsiteX2" fmla="*/ 67703 w 1206736"/>
                <a:gd name="connsiteY2" fmla="*/ 261349 h 528057"/>
                <a:gd name="connsiteX3" fmla="*/ 165639 w 1206736"/>
                <a:gd name="connsiteY3" fmla="*/ 122962 h 528057"/>
                <a:gd name="connsiteX4" fmla="*/ 146478 w 1206736"/>
                <a:gd name="connsiteY4" fmla="*/ 85491 h 528057"/>
                <a:gd name="connsiteX5" fmla="*/ 0 w 1206736"/>
                <a:gd name="connsiteY5" fmla="*/ 265181 h 528057"/>
                <a:gd name="connsiteX6" fmla="*/ 644671 w 1206736"/>
                <a:gd name="connsiteY6" fmla="*/ 527904 h 528057"/>
                <a:gd name="connsiteX7" fmla="*/ 992130 w 1206736"/>
                <a:gd name="connsiteY7" fmla="*/ 473826 h 528057"/>
                <a:gd name="connsiteX8" fmla="*/ 1206736 w 1206736"/>
                <a:gd name="connsiteY8" fmla="*/ 353749 h 528057"/>
                <a:gd name="connsiteX9" fmla="*/ 1024065 w 1206736"/>
                <a:gd name="connsiteY9" fmla="*/ 444872 h 528057"/>
                <a:gd name="connsiteX10" fmla="*/ 309136 w 1206736"/>
                <a:gd name="connsiteY10" fmla="*/ 58239 h 528057"/>
                <a:gd name="connsiteX11" fmla="*/ 363639 w 1206736"/>
                <a:gd name="connsiteY11" fmla="*/ 40781 h 528057"/>
                <a:gd name="connsiteX12" fmla="*/ 645097 w 1206736"/>
                <a:gd name="connsiteY12" fmla="*/ 2459 h 528057"/>
                <a:gd name="connsiteX13" fmla="*/ 356826 w 1206736"/>
                <a:gd name="connsiteY13" fmla="*/ 17788 h 528057"/>
                <a:gd name="connsiteX14" fmla="*/ 298490 w 1206736"/>
                <a:gd name="connsiteY14" fmla="*/ 30136 h 528057"/>
                <a:gd name="connsiteX15" fmla="*/ 275071 w 1206736"/>
                <a:gd name="connsiteY15" fmla="*/ 36523 h 528057"/>
                <a:gd name="connsiteX16" fmla="*/ 253781 w 1206736"/>
                <a:gd name="connsiteY16" fmla="*/ 42484 h 528057"/>
                <a:gd name="connsiteX17" fmla="*/ 228232 w 1206736"/>
                <a:gd name="connsiteY17" fmla="*/ 51001 h 528057"/>
                <a:gd name="connsiteX18" fmla="*/ 242284 w 1206736"/>
                <a:gd name="connsiteY18" fmla="*/ 83362 h 528057"/>
                <a:gd name="connsiteX19" fmla="*/ 309136 w 1206736"/>
                <a:gd name="connsiteY19" fmla="*/ 58239 h 52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6736" h="528057">
                  <a:moveTo>
                    <a:pt x="1024065" y="444872"/>
                  </a:moveTo>
                  <a:cubicBezTo>
                    <a:pt x="911652" y="478085"/>
                    <a:pt x="774968" y="492562"/>
                    <a:pt x="641265" y="492562"/>
                  </a:cubicBezTo>
                  <a:cubicBezTo>
                    <a:pt x="301897" y="492562"/>
                    <a:pt x="83032" y="392923"/>
                    <a:pt x="67703" y="261349"/>
                  </a:cubicBezTo>
                  <a:cubicBezTo>
                    <a:pt x="62168" y="211955"/>
                    <a:pt x="100916" y="163839"/>
                    <a:pt x="165639" y="122962"/>
                  </a:cubicBezTo>
                  <a:cubicBezTo>
                    <a:pt x="154142" y="114446"/>
                    <a:pt x="146903" y="100820"/>
                    <a:pt x="146478" y="85491"/>
                  </a:cubicBezTo>
                  <a:cubicBezTo>
                    <a:pt x="52800" y="134885"/>
                    <a:pt x="0" y="199607"/>
                    <a:pt x="0" y="265181"/>
                  </a:cubicBezTo>
                  <a:cubicBezTo>
                    <a:pt x="0" y="410381"/>
                    <a:pt x="259316" y="533014"/>
                    <a:pt x="644671" y="527904"/>
                  </a:cubicBezTo>
                  <a:cubicBezTo>
                    <a:pt x="778800" y="526201"/>
                    <a:pt x="890788" y="507039"/>
                    <a:pt x="992130" y="473826"/>
                  </a:cubicBezTo>
                  <a:cubicBezTo>
                    <a:pt x="1112633" y="434652"/>
                    <a:pt x="1188427" y="378446"/>
                    <a:pt x="1206736" y="353749"/>
                  </a:cubicBezTo>
                  <a:cubicBezTo>
                    <a:pt x="1185020" y="373336"/>
                    <a:pt x="1133498" y="412510"/>
                    <a:pt x="1024065" y="444872"/>
                  </a:cubicBezTo>
                  <a:close/>
                  <a:moveTo>
                    <a:pt x="309136" y="58239"/>
                  </a:moveTo>
                  <a:cubicBezTo>
                    <a:pt x="331703" y="50575"/>
                    <a:pt x="363639" y="40781"/>
                    <a:pt x="363639" y="40781"/>
                  </a:cubicBezTo>
                  <a:cubicBezTo>
                    <a:pt x="453484" y="16084"/>
                    <a:pt x="552697" y="1607"/>
                    <a:pt x="645097" y="2459"/>
                  </a:cubicBezTo>
                  <a:cubicBezTo>
                    <a:pt x="538645" y="-3928"/>
                    <a:pt x="441562" y="2459"/>
                    <a:pt x="356826" y="17788"/>
                  </a:cubicBezTo>
                  <a:cubicBezTo>
                    <a:pt x="356826" y="17788"/>
                    <a:pt x="328723" y="22472"/>
                    <a:pt x="298490" y="30136"/>
                  </a:cubicBezTo>
                  <a:cubicBezTo>
                    <a:pt x="298490" y="30136"/>
                    <a:pt x="284013" y="33968"/>
                    <a:pt x="275071" y="36523"/>
                  </a:cubicBezTo>
                  <a:cubicBezTo>
                    <a:pt x="266129" y="39078"/>
                    <a:pt x="253781" y="42484"/>
                    <a:pt x="253781" y="42484"/>
                  </a:cubicBezTo>
                  <a:cubicBezTo>
                    <a:pt x="245265" y="45039"/>
                    <a:pt x="236749" y="48020"/>
                    <a:pt x="228232" y="51001"/>
                  </a:cubicBezTo>
                  <a:cubicBezTo>
                    <a:pt x="236749" y="59517"/>
                    <a:pt x="241858" y="70588"/>
                    <a:pt x="242284" y="83362"/>
                  </a:cubicBezTo>
                  <a:cubicBezTo>
                    <a:pt x="257187" y="76549"/>
                    <a:pt x="285716" y="66330"/>
                    <a:pt x="309136" y="58239"/>
                  </a:cubicBezTo>
                  <a:close/>
                </a:path>
              </a:pathLst>
            </a:custGeom>
            <a:solidFill>
              <a:srgbClr val="E30034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" name="empower - DO NOT DELETE!!!" hidden="1"/>
          <p:cNvSpPr/>
          <p:nvPr userDrawn="1">
            <p:custDataLst>
              <p:tags r:id="rId28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087355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1200" kern="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1200" kern="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52" r:id="rId4"/>
    <p:sldLayoutId id="2147483729" r:id="rId5"/>
    <p:sldLayoutId id="2147483730" r:id="rId6"/>
    <p:sldLayoutId id="2147483741" r:id="rId7"/>
    <p:sldLayoutId id="2147483731" r:id="rId8"/>
    <p:sldLayoutId id="2147483747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54" r:id="rId18"/>
    <p:sldLayoutId id="2147483753" r:id="rId19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18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450000" indent="-27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Verdana" panose="020B0604030504040204" pitchFamily="34" charset="0"/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63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baseline="0">
          <a:solidFill>
            <a:schemeClr val="tx1"/>
          </a:solidFill>
          <a:latin typeface="+mn-lt"/>
          <a:cs typeface="+mn-cs"/>
        </a:defRPr>
      </a:lvl3pPr>
      <a:lvl4pPr marL="802800" indent="-1728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lt"/>
          <a:cs typeface="+mn-cs"/>
        </a:defRPr>
      </a:lvl4pPr>
      <a:lvl5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5pPr>
      <a:lvl6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6pPr>
      <a:lvl7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7pPr>
      <a:lvl8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8pPr>
      <a:lvl9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12134147" y="7545287"/>
            <a:ext cx="0" cy="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12134147" y="7545287"/>
            <a:ext cx="0" cy="0"/>
          </a:xfrm>
        </p:spPr>
        <p:txBody>
          <a:bodyPr/>
          <a:lstStyle/>
          <a:p>
            <a:fld id="{BA925C6C-614A-4D70-B313-7ADCEE25F184}" type="slidenum">
              <a:rPr lang="en-US"/>
              <a:pPr/>
              <a:t>1</a:t>
            </a:fld>
            <a:endParaRPr lang="en-US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757584944"/>
              </p:ext>
            </p:extLst>
          </p:nvPr>
        </p:nvGraphicFramePr>
        <p:xfrm>
          <a:off x="925579" y="1740023"/>
          <a:ext cx="9361040" cy="4536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Plus 5"/>
          <p:cNvSpPr/>
          <p:nvPr/>
        </p:nvSpPr>
        <p:spPr bwMode="auto">
          <a:xfrm>
            <a:off x="3113449" y="2399447"/>
            <a:ext cx="576064" cy="576064"/>
          </a:xfrm>
          <a:prstGeom prst="mathPlus">
            <a:avLst/>
          </a:prstGeom>
          <a:solidFill>
            <a:srgbClr val="00B050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IN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9" name="Plus 8"/>
          <p:cNvSpPr/>
          <p:nvPr/>
        </p:nvSpPr>
        <p:spPr bwMode="auto">
          <a:xfrm>
            <a:off x="4165939" y="1503236"/>
            <a:ext cx="576064" cy="526841"/>
          </a:xfrm>
          <a:prstGeom prst="mathPlus">
            <a:avLst/>
          </a:prstGeom>
          <a:solidFill>
            <a:srgbClr val="00B050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IN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Minus 6"/>
          <p:cNvSpPr/>
          <p:nvPr/>
        </p:nvSpPr>
        <p:spPr bwMode="auto">
          <a:xfrm rot="16200000">
            <a:off x="3067887" y="4761148"/>
            <a:ext cx="648072" cy="432048"/>
          </a:xfrm>
          <a:prstGeom prst="mathMinus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IN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0" name="Minus 9"/>
          <p:cNvSpPr/>
          <p:nvPr/>
        </p:nvSpPr>
        <p:spPr bwMode="auto">
          <a:xfrm>
            <a:off x="6398187" y="1571395"/>
            <a:ext cx="648072" cy="432048"/>
          </a:xfrm>
          <a:prstGeom prst="mathMinus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IN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 bwMode="auto">
          <a:xfrm>
            <a:off x="3212563" y="1147483"/>
            <a:ext cx="4608512" cy="32877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400" b="1" kern="0" baseline="0" dirty="0" smtClean="0">
                <a:latin typeface="+mn-lt"/>
                <a:ea typeface="+mn-ea"/>
                <a:cs typeface="+mn-cs"/>
              </a:rPr>
              <a:t>Real Values</a:t>
            </a:r>
            <a:endParaRPr lang="en-IN" sz="1400" b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 bwMode="auto">
          <a:xfrm rot="16200000">
            <a:off x="695941" y="3616125"/>
            <a:ext cx="4608512" cy="32877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400" b="1" kern="0" baseline="0" dirty="0" smtClean="0">
                <a:latin typeface="+mn-lt"/>
                <a:ea typeface="+mn-ea"/>
                <a:cs typeface="+mn-cs"/>
              </a:rPr>
              <a:t>Predicted Values</a:t>
            </a:r>
            <a:endParaRPr lang="en-IN" sz="1400" b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 bwMode="auto">
          <a:xfrm rot="5400000">
            <a:off x="7245011" y="2792275"/>
            <a:ext cx="1152128" cy="360040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400" b="1" kern="0" baseline="0" dirty="0" smtClean="0">
                <a:latin typeface="+mn-lt"/>
                <a:ea typeface="+mn-ea"/>
                <a:cs typeface="+mn-cs"/>
              </a:rPr>
              <a:t>Type 1 Error</a:t>
            </a:r>
            <a:endParaRPr lang="en-IN" sz="1400" b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 bwMode="auto">
          <a:xfrm>
            <a:off x="3941423" y="6039353"/>
            <a:ext cx="1152128" cy="360040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400" b="1" kern="0" baseline="0" dirty="0" smtClean="0">
                <a:latin typeface="+mn-lt"/>
                <a:ea typeface="+mn-ea"/>
                <a:cs typeface="+mn-cs"/>
              </a:rPr>
              <a:t>Type 2 Error</a:t>
            </a:r>
            <a:endParaRPr lang="en-IN" sz="1400" b="1" kern="0" baseline="0" dirty="0"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200482"/>
              </p:ext>
            </p:extLst>
          </p:nvPr>
        </p:nvGraphicFramePr>
        <p:xfrm>
          <a:off x="8163208" y="3733954"/>
          <a:ext cx="1436867" cy="5486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145008">
                  <a:extLst>
                    <a:ext uri="{9D8B030D-6E8A-4147-A177-3AD203B41FA5}">
                      <a16:colId xmlns:a16="http://schemas.microsoft.com/office/drawing/2014/main" val="3002497256"/>
                    </a:ext>
                  </a:extLst>
                </a:gridCol>
                <a:gridCol w="291859">
                  <a:extLst>
                    <a:ext uri="{9D8B030D-6E8A-4147-A177-3AD203B41FA5}">
                      <a16:colId xmlns:a16="http://schemas.microsoft.com/office/drawing/2014/main" val="3547813287"/>
                    </a:ext>
                  </a:extLst>
                </a:gridCol>
              </a:tblGrid>
              <a:tr h="231830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Fully Paid</a:t>
                      </a:r>
                      <a:endParaRPr lang="en-IN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0</a:t>
                      </a:r>
                      <a:endParaRPr lang="en-IN" sz="12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872466"/>
                  </a:ext>
                </a:extLst>
              </a:tr>
              <a:tr h="231830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Default</a:t>
                      </a:r>
                      <a:endParaRPr lang="en-IN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1</a:t>
                      </a:r>
                      <a:endParaRPr lang="en-IN" sz="12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22054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2891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A925C6C-614A-4D70-B313-7ADCEE25F184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888697446"/>
              </p:ext>
            </p:extLst>
          </p:nvPr>
        </p:nvGraphicFramePr>
        <p:xfrm>
          <a:off x="119336" y="620688"/>
          <a:ext cx="11161240" cy="6237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59788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A925C6C-614A-4D70-B313-7ADCEE25F184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914077197"/>
              </p:ext>
            </p:extLst>
          </p:nvPr>
        </p:nvGraphicFramePr>
        <p:xfrm>
          <a:off x="2639616" y="1268413"/>
          <a:ext cx="568863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86258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A925C6C-614A-4D70-B313-7ADCEE25F184}" type="slidenum">
              <a:rPr lang="en-US" smtClean="0"/>
              <a:pPr/>
              <a:t>4</a:t>
            </a:fld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408715317"/>
              </p:ext>
            </p:extLst>
          </p:nvPr>
        </p:nvGraphicFramePr>
        <p:xfrm>
          <a:off x="551384" y="719666"/>
          <a:ext cx="10585176" cy="58776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64767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5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19"/>
  <p:tag name="MIO_HDS" val="True"/>
  <p:tag name="MIO_SKIPVERSION" val="01.01.0001 00:00:00"/>
  <p:tag name="MIO_EKGUID" val="8065601e-5703-48da-bebd-d15d5a0b2647"/>
  <p:tag name="MIO_UPDATE" val="True"/>
  <p:tag name="MIO_VERSION" val="19.06.2021 06:46:20"/>
  <p:tag name="MIO_DBID" val="FDE84254-54DB-49E3-9A0E-CDE72035D530"/>
  <p:tag name="MIO_LASTDOWNLOADED" val="09.07.2021 22:43:10.186"/>
  <p:tag name="MIO_OBJECTNAME" val="Infineon LCD 16:9"/>
  <p:tag name="MIO_CDID" val="906d5752-464b-466e-b4dc-f788d8f8048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- new SU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F07F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eaLnBrk="0" hangingPunct="0">
          <a:defRPr sz="1600" baseline="0" dirty="0">
            <a:latin typeface="+mn-lt"/>
            <a:ea typeface="+mn-ea"/>
            <a:cs typeface="+mn-cs"/>
          </a:defRPr>
        </a:defPPr>
      </a:lst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ctr" anchorCtr="0">
        <a:noAutofit/>
      </a:bodyPr>
      <a:lstStyle>
        <a:defPPr marL="180000" marR="0" indent="-180000" algn="l" defTabSz="576000" eaLnBrk="0" fontAlgn="auto" latinLnBrk="0" hangingPunct="0">
          <a:spcBef>
            <a:spcPts val="0"/>
          </a:spcBef>
          <a:spcAft>
            <a:spcPts val="0"/>
          </a:spcAft>
          <a:buClr>
            <a:schemeClr val="accent1"/>
          </a:buClr>
          <a:buSzTx/>
          <a:buFont typeface="Arial" panose="020B0604020202020204" pitchFamily="34" charset="0"/>
          <a:buChar char="›"/>
          <a:tabLst/>
          <a:defRPr sz="14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7A145C1D-E20A-4D96-816D-60171D2E2526}" vid="{5368E900-7B10-4B87-BCDB-63E627709325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purl.org/dc/terms/"/>
    <ds:schemaRef ds:uri="a709603d-609a-478b-a91d-3c5e984c0e79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6ef45842-284e-44e4-b2db-1749e7948b44"/>
    <ds:schemaRef ds:uri="http://schemas.openxmlformats.org/package/2006/metadata/core-properties"/>
    <ds:schemaRef ds:uri="http://schemas.microsoft.com/office/2006/metadata/properties"/>
  </ds:schemaRefs>
</ds:datastoreItem>
</file>

<file path=customXml/itemProps4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20</TotalTime>
  <Words>146</Words>
  <Application>Microsoft Office PowerPoint</Application>
  <PresentationFormat>Widescreen</PresentationFormat>
  <Paragraphs>64</Paragraphs>
  <Slides>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Arial Unicode MS</vt:lpstr>
      <vt:lpstr>Verdana</vt:lpstr>
      <vt:lpstr>Infineon 16:9</vt:lpstr>
      <vt:lpstr>PowerPoint Presentation</vt:lpstr>
      <vt:lpstr>PowerPoint Presentation</vt:lpstr>
      <vt:lpstr>PowerPoint Presentation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rma Rakendu (IFIN DSS SCS D SSW CEQ)</dc:creator>
  <cp:lastModifiedBy>Sharma Rakendu (IFIN DSS SCS D SSW CEQ)</cp:lastModifiedBy>
  <cp:revision>15</cp:revision>
  <dcterms:created xsi:type="dcterms:W3CDTF">2021-12-26T05:14:15Z</dcterms:created>
  <dcterms:modified xsi:type="dcterms:W3CDTF">2021-12-26T18:0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1-02-08T06:22:02Z</vt:filetime>
  </property>
  <property fmtid="{D5CDD505-2E9C-101B-9397-08002B2CF9AE}" pid="15" name="empower.integration.Classification.DateFormat">
    <vt:lpwstr>yyyy-MM-dd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</Properties>
</file>